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22" r:id="rId4"/>
  </p:sldMasterIdLst>
  <p:notesMasterIdLst>
    <p:notesMasterId r:id="rId13"/>
  </p:notesMasterIdLst>
  <p:handoutMasterIdLst>
    <p:handoutMasterId r:id="rId14"/>
  </p:handoutMasterIdLst>
  <p:sldIdLst>
    <p:sldId id="2672" r:id="rId5"/>
    <p:sldId id="3232" r:id="rId6"/>
    <p:sldId id="3524" r:id="rId7"/>
    <p:sldId id="2554" r:id="rId8"/>
    <p:sldId id="3527" r:id="rId9"/>
    <p:sldId id="3528" r:id="rId10"/>
    <p:sldId id="2128751890" r:id="rId11"/>
    <p:sldId id="2509" r:id="rId12"/>
  </p:sldIdLst>
  <p:sldSz cx="12192000" cy="6858000"/>
  <p:notesSz cx="7010400" cy="9296400"/>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EFD110-5F61-5778-D409-40ADDD9CB080}" name="Arpit Sehgal" initials="AS" userId="S::arpit.sehgal@everestgrp.com::a4568d40-fe69-4d1f-99f0-9cac76f03e56" providerId="AD"/>
  <p188:author id="{8F507542-177D-1A66-4533-00CB3363F0D9}" name="Sathish Kumar" initials="SK" userId="S::sathish.kumar@everestgrp.com::1d190e4f-7f91-4e76-b027-e1df0c97192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glani, Manisha" initials="MM" lastIdx="17" clrIdx="0">
    <p:extLst>
      <p:ext uri="{19B8F6BF-5375-455C-9EA6-DF929625EA0E}">
        <p15:presenceInfo xmlns:p15="http://schemas.microsoft.com/office/powerpoint/2012/main" userId="S-1-5-21-1603936759-223485569-1819828000-24623" providerId="AD"/>
      </p:ext>
    </p:extLst>
  </p:cmAuthor>
  <p:cmAuthor id="2" name="Miglani, Manisha" initials="MM [2]" lastIdx="17" clrIdx="1">
    <p:extLst>
      <p:ext uri="{19B8F6BF-5375-455C-9EA6-DF929625EA0E}">
        <p15:presenceInfo xmlns:p15="http://schemas.microsoft.com/office/powerpoint/2012/main" userId="S::Manisha.Miglani@everestgrp.com::dcd8ae44-efb6-4afd-b817-410b43c02073" providerId="AD"/>
      </p:ext>
    </p:extLst>
  </p:cmAuthor>
  <p:cmAuthor id="3" name="Kumar, Sathish" initials="KS" lastIdx="16" clrIdx="2">
    <p:extLst>
      <p:ext uri="{19B8F6BF-5375-455C-9EA6-DF929625EA0E}">
        <p15:presenceInfo xmlns:p15="http://schemas.microsoft.com/office/powerpoint/2012/main" userId="S::Sathish.Kumar@everestgrp.com::1d190e4f-7f91-4e76-b027-e1df0c971924" providerId="AD"/>
      </p:ext>
    </p:extLst>
  </p:cmAuthor>
  <p:cmAuthor id="4" name="Boudrie, Elizabeth" initials="BE" lastIdx="2" clrIdx="3">
    <p:extLst>
      <p:ext uri="{19B8F6BF-5375-455C-9EA6-DF929625EA0E}">
        <p15:presenceInfo xmlns:p15="http://schemas.microsoft.com/office/powerpoint/2012/main" userId="S::elizabeth.boudrie@everestgrp.com::c5db88a2-ca9c-48b8-980c-3dae8a671d1c" providerId="AD"/>
      </p:ext>
    </p:extLst>
  </p:cmAuthor>
  <p:cmAuthor id="5" name="Verma, Ashish" initials="VA" lastIdx="16" clrIdx="4">
    <p:extLst>
      <p:ext uri="{19B8F6BF-5375-455C-9EA6-DF929625EA0E}">
        <p15:presenceInfo xmlns:p15="http://schemas.microsoft.com/office/powerpoint/2012/main" userId="S::Ashish.Verma@everestgrp.com::3836a5db-5d69-45a1-ad23-2de5fe2194cf" providerId="AD"/>
      </p:ext>
    </p:extLst>
  </p:cmAuthor>
  <p:cmAuthor id="6" name="Thapa, Navidita" initials="TN" lastIdx="2" clrIdx="5">
    <p:extLst>
      <p:ext uri="{19B8F6BF-5375-455C-9EA6-DF929625EA0E}">
        <p15:presenceInfo xmlns:p15="http://schemas.microsoft.com/office/powerpoint/2012/main" userId="S::Navidita.Thapa@everestgrp.com::3688561f-cb28-4067-8952-0ef447eb52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BA99"/>
    <a:srgbClr val="8F8F8F"/>
    <a:srgbClr val="A5BDC7"/>
    <a:srgbClr val="606060"/>
    <a:srgbClr val="A6A6A6"/>
    <a:srgbClr val="B5E5FF"/>
    <a:srgbClr val="B3CDD7"/>
    <a:srgbClr val="197FAB"/>
    <a:srgbClr val="000000"/>
    <a:srgbClr val="D9E6EB"/>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74ED87-DB79-4CAF-BA45-025B60DFCFBD}" v="279" dt="2022-03-30T08:43:38.350"/>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57" autoAdjust="0"/>
    <p:restoredTop sz="96816" autoAdjust="0"/>
  </p:normalViewPr>
  <p:slideViewPr>
    <p:cSldViewPr snapToGrid="0">
      <p:cViewPr varScale="1">
        <p:scale>
          <a:sx n="204" d="100"/>
          <a:sy n="204" d="100"/>
        </p:scale>
        <p:origin x="1472" y="200"/>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rpit Sehgal" userId="a4568d40-fe69-4d1f-99f0-9cac76f03e56" providerId="ADAL" clId="{9CEC112C-7209-9348-834D-871CDA528E16}"/>
    <pc:docChg chg="undo custSel modSld">
      <pc:chgData name="Arpit Sehgal" userId="a4568d40-fe69-4d1f-99f0-9cac76f03e56" providerId="ADAL" clId="{9CEC112C-7209-9348-834D-871CDA528E16}" dt="2022-02-28T07:44:31.136" v="15" actId="798"/>
      <pc:docMkLst>
        <pc:docMk/>
      </pc:docMkLst>
      <pc:sldChg chg="modSp mod">
        <pc:chgData name="Arpit Sehgal" userId="a4568d40-fe69-4d1f-99f0-9cac76f03e56" providerId="ADAL" clId="{9CEC112C-7209-9348-834D-871CDA528E16}" dt="2022-02-28T07:44:31.136" v="15" actId="798"/>
        <pc:sldMkLst>
          <pc:docMk/>
          <pc:sldMk cId="2439442107" sldId="3522"/>
        </pc:sldMkLst>
        <pc:graphicFrameChg chg="mod modGraphic">
          <ac:chgData name="Arpit Sehgal" userId="a4568d40-fe69-4d1f-99f0-9cac76f03e56" providerId="ADAL" clId="{9CEC112C-7209-9348-834D-871CDA528E16}" dt="2022-02-28T07:44:31.136" v="15" actId="798"/>
          <ac:graphicFrameMkLst>
            <pc:docMk/>
            <pc:sldMk cId="2439442107" sldId="3522"/>
            <ac:graphicFrameMk id="22" creationId="{E301ACF6-5F2E-794E-8D20-4DE8E4016EAC}"/>
          </ac:graphicFrameMkLst>
        </pc:graphicFrameChg>
      </pc:sldChg>
    </pc:docChg>
  </pc:docChgLst>
  <pc:docChgLst>
    <pc:chgData name="Verma, Ashish" userId="3836a5db-5d69-45a1-ad23-2de5fe2194cf" providerId="ADAL" clId="{8C6611B2-B8DA-C645-9316-E43DCB7CB96A}"/>
    <pc:docChg chg="undo custSel modSld modMainMaster">
      <pc:chgData name="Verma, Ashish" userId="3836a5db-5d69-45a1-ad23-2de5fe2194cf" providerId="ADAL" clId="{8C6611B2-B8DA-C645-9316-E43DCB7CB96A}" dt="2022-01-03T11:23:28.633" v="107"/>
      <pc:docMkLst>
        <pc:docMk/>
      </pc:docMkLst>
      <pc:sldChg chg="addSp delSp modSp mod">
        <pc:chgData name="Verma, Ashish" userId="3836a5db-5d69-45a1-ad23-2de5fe2194cf" providerId="ADAL" clId="{8C6611B2-B8DA-C645-9316-E43DCB7CB96A}" dt="2022-01-03T11:23:28.633" v="107"/>
        <pc:sldMkLst>
          <pc:docMk/>
          <pc:sldMk cId="1436013182" sldId="2299"/>
        </pc:sldMkLst>
        <pc:picChg chg="add mod">
          <ac:chgData name="Verma, Ashish" userId="3836a5db-5d69-45a1-ad23-2de5fe2194cf" providerId="ADAL" clId="{8C6611B2-B8DA-C645-9316-E43DCB7CB96A}" dt="2022-01-03T11:23:28.633" v="107"/>
          <ac:picMkLst>
            <pc:docMk/>
            <pc:sldMk cId="1436013182" sldId="2299"/>
            <ac:picMk id="5" creationId="{76933959-2E45-444F-B76E-6E18E14D4750}"/>
          </ac:picMkLst>
        </pc:picChg>
        <pc:picChg chg="del">
          <ac:chgData name="Verma, Ashish" userId="3836a5db-5d69-45a1-ad23-2de5fe2194cf" providerId="ADAL" clId="{8C6611B2-B8DA-C645-9316-E43DCB7CB96A}" dt="2022-01-03T11:23:27.881" v="106" actId="21"/>
          <ac:picMkLst>
            <pc:docMk/>
            <pc:sldMk cId="1436013182" sldId="2299"/>
            <ac:picMk id="6" creationId="{227536F5-E878-4C9A-A1DB-E7E99728D15A}"/>
          </ac:picMkLst>
        </pc:picChg>
      </pc:sldChg>
      <pc:sldChg chg="modSp mod">
        <pc:chgData name="Verma, Ashish" userId="3836a5db-5d69-45a1-ad23-2de5fe2194cf" providerId="ADAL" clId="{8C6611B2-B8DA-C645-9316-E43DCB7CB96A}" dt="2022-01-03T08:23:50.212" v="0" actId="20577"/>
        <pc:sldMkLst>
          <pc:docMk/>
          <pc:sldMk cId="1141233094" sldId="2524"/>
        </pc:sldMkLst>
        <pc:spChg chg="mod">
          <ac:chgData name="Verma, Ashish" userId="3836a5db-5d69-45a1-ad23-2de5fe2194cf" providerId="ADAL" clId="{8C6611B2-B8DA-C645-9316-E43DCB7CB96A}" dt="2022-01-03T08:23:50.212" v="0" actId="20577"/>
          <ac:spMkLst>
            <pc:docMk/>
            <pc:sldMk cId="1141233094" sldId="2524"/>
            <ac:spMk id="2" creationId="{6A7B9603-F5D2-4A84-BCDB-F279EE284A79}"/>
          </ac:spMkLst>
        </pc:spChg>
      </pc:sldChg>
      <pc:sldChg chg="modSp mod">
        <pc:chgData name="Verma, Ashish" userId="3836a5db-5d69-45a1-ad23-2de5fe2194cf" providerId="ADAL" clId="{8C6611B2-B8DA-C645-9316-E43DCB7CB96A}" dt="2022-01-03T08:45:12.292" v="4" actId="20577"/>
        <pc:sldMkLst>
          <pc:docMk/>
          <pc:sldMk cId="1648547252" sldId="2549"/>
        </pc:sldMkLst>
        <pc:spChg chg="mod">
          <ac:chgData name="Verma, Ashish" userId="3836a5db-5d69-45a1-ad23-2de5fe2194cf" providerId="ADAL" clId="{8C6611B2-B8DA-C645-9316-E43DCB7CB96A}" dt="2022-01-03T08:45:12.292" v="4" actId="20577"/>
          <ac:spMkLst>
            <pc:docMk/>
            <pc:sldMk cId="1648547252" sldId="2549"/>
            <ac:spMk id="18" creationId="{D626C4F4-5D6F-4B02-A59D-3D3511603D98}"/>
          </ac:spMkLst>
        </pc:spChg>
      </pc:sldChg>
      <pc:sldChg chg="addSp delSp modSp mod">
        <pc:chgData name="Verma, Ashish" userId="3836a5db-5d69-45a1-ad23-2de5fe2194cf" providerId="ADAL" clId="{8C6611B2-B8DA-C645-9316-E43DCB7CB96A}" dt="2022-01-03T11:22:59.186" v="105"/>
        <pc:sldMkLst>
          <pc:docMk/>
          <pc:sldMk cId="1179925496" sldId="2557"/>
        </pc:sldMkLst>
        <pc:spChg chg="add mod">
          <ac:chgData name="Verma, Ashish" userId="3836a5db-5d69-45a1-ad23-2de5fe2194cf" providerId="ADAL" clId="{8C6611B2-B8DA-C645-9316-E43DCB7CB96A}" dt="2022-01-03T11:22:59.186" v="105"/>
          <ac:spMkLst>
            <pc:docMk/>
            <pc:sldMk cId="1179925496" sldId="2557"/>
            <ac:spMk id="4" creationId="{905E500F-D3CA-654C-8385-25A98C06A50B}"/>
          </ac:spMkLst>
        </pc:spChg>
        <pc:spChg chg="del">
          <ac:chgData name="Verma, Ashish" userId="3836a5db-5d69-45a1-ad23-2de5fe2194cf" providerId="ADAL" clId="{8C6611B2-B8DA-C645-9316-E43DCB7CB96A}" dt="2022-01-03T08:51:16.805" v="9" actId="478"/>
          <ac:spMkLst>
            <pc:docMk/>
            <pc:sldMk cId="1179925496" sldId="2557"/>
            <ac:spMk id="6" creationId="{6DE46BE9-9BAB-4E90-A32D-5FB0434A1C02}"/>
          </ac:spMkLst>
        </pc:spChg>
        <pc:spChg chg="add del mod">
          <ac:chgData name="Verma, Ashish" userId="3836a5db-5d69-45a1-ad23-2de5fe2194cf" providerId="ADAL" clId="{8C6611B2-B8DA-C645-9316-E43DCB7CB96A}" dt="2022-01-03T11:22:58.639" v="104" actId="21"/>
          <ac:spMkLst>
            <pc:docMk/>
            <pc:sldMk cId="1179925496" sldId="2557"/>
            <ac:spMk id="7" creationId="{BA0C75D4-4647-554C-BD33-3AC91F08247E}"/>
          </ac:spMkLst>
        </pc:spChg>
        <pc:spChg chg="add del">
          <ac:chgData name="Verma, Ashish" userId="3836a5db-5d69-45a1-ad23-2de5fe2194cf" providerId="ADAL" clId="{8C6611B2-B8DA-C645-9316-E43DCB7CB96A}" dt="2022-01-03T08:51:13.543" v="8" actId="21"/>
          <ac:spMkLst>
            <pc:docMk/>
            <pc:sldMk cId="1179925496" sldId="2557"/>
            <ac:spMk id="9" creationId="{85E88D60-01B6-4EDB-A31E-22676FCD2050}"/>
          </ac:spMkLst>
        </pc:spChg>
      </pc:sldChg>
      <pc:sldMasterChg chg="modSldLayout">
        <pc:chgData name="Verma, Ashish" userId="3836a5db-5d69-45a1-ad23-2de5fe2194cf" providerId="ADAL" clId="{8C6611B2-B8DA-C645-9316-E43DCB7CB96A}" dt="2022-01-03T11:22:36.201" v="103" actId="20577"/>
        <pc:sldMasterMkLst>
          <pc:docMk/>
          <pc:sldMasterMk cId="1230176099" sldId="2147483922"/>
        </pc:sldMasterMkLst>
        <pc:sldLayoutChg chg="modSp mod">
          <pc:chgData name="Verma, Ashish" userId="3836a5db-5d69-45a1-ad23-2de5fe2194cf" providerId="ADAL" clId="{8C6611B2-B8DA-C645-9316-E43DCB7CB96A}" dt="2022-01-03T08:53:36.942" v="12" actId="12789"/>
          <pc:sldLayoutMkLst>
            <pc:docMk/>
            <pc:sldMasterMk cId="1230176099" sldId="2147483922"/>
            <pc:sldLayoutMk cId="3291531352" sldId="2147483974"/>
          </pc:sldLayoutMkLst>
          <pc:spChg chg="mod">
            <ac:chgData name="Verma, Ashish" userId="3836a5db-5d69-45a1-ad23-2de5fe2194cf" providerId="ADAL" clId="{8C6611B2-B8DA-C645-9316-E43DCB7CB96A}" dt="2022-01-03T08:53:36.942" v="12" actId="12789"/>
            <ac:spMkLst>
              <pc:docMk/>
              <pc:sldMasterMk cId="1230176099" sldId="2147483922"/>
              <pc:sldLayoutMk cId="3291531352" sldId="2147483974"/>
              <ac:spMk id="25" creationId="{060FD44C-2CC2-4789-B395-5E87C819CAE0}"/>
            </ac:spMkLst>
          </pc:spChg>
          <pc:cxnChg chg="mod">
            <ac:chgData name="Verma, Ashish" userId="3836a5db-5d69-45a1-ad23-2de5fe2194cf" providerId="ADAL" clId="{8C6611B2-B8DA-C645-9316-E43DCB7CB96A}" dt="2022-01-03T08:53:36.942" v="12" actId="12789"/>
            <ac:cxnSpMkLst>
              <pc:docMk/>
              <pc:sldMasterMk cId="1230176099" sldId="2147483922"/>
              <pc:sldLayoutMk cId="3291531352" sldId="2147483974"/>
              <ac:cxnSpMk id="27" creationId="{1987AF3A-F1BA-4ECB-83C0-6754E21E75F8}"/>
            </ac:cxnSpMkLst>
          </pc:cxnChg>
        </pc:sldLayoutChg>
        <pc:sldLayoutChg chg="modSp mod">
          <pc:chgData name="Verma, Ashish" userId="3836a5db-5d69-45a1-ad23-2de5fe2194cf" providerId="ADAL" clId="{8C6611B2-B8DA-C645-9316-E43DCB7CB96A}" dt="2022-01-03T08:53:47.959" v="13" actId="12789"/>
          <pc:sldLayoutMkLst>
            <pc:docMk/>
            <pc:sldMasterMk cId="1230176099" sldId="2147483922"/>
            <pc:sldLayoutMk cId="3512377394" sldId="2147483975"/>
          </pc:sldLayoutMkLst>
          <pc:spChg chg="mod">
            <ac:chgData name="Verma, Ashish" userId="3836a5db-5d69-45a1-ad23-2de5fe2194cf" providerId="ADAL" clId="{8C6611B2-B8DA-C645-9316-E43DCB7CB96A}" dt="2022-01-03T08:53:47.959" v="13" actId="12789"/>
            <ac:spMkLst>
              <pc:docMk/>
              <pc:sldMasterMk cId="1230176099" sldId="2147483922"/>
              <pc:sldLayoutMk cId="3512377394" sldId="2147483975"/>
              <ac:spMk id="25" creationId="{70E2A129-BB73-49F1-8083-E26933D096F9}"/>
            </ac:spMkLst>
          </pc:spChg>
          <pc:cxnChg chg="mod">
            <ac:chgData name="Verma, Ashish" userId="3836a5db-5d69-45a1-ad23-2de5fe2194cf" providerId="ADAL" clId="{8C6611B2-B8DA-C645-9316-E43DCB7CB96A}" dt="2022-01-03T08:53:47.959" v="13" actId="12789"/>
            <ac:cxnSpMkLst>
              <pc:docMk/>
              <pc:sldMasterMk cId="1230176099" sldId="2147483922"/>
              <pc:sldLayoutMk cId="3512377394" sldId="2147483975"/>
              <ac:cxnSpMk id="24" creationId="{AB2F332E-353D-4334-B7DC-AE8FE5529CE9}"/>
            </ac:cxnSpMkLst>
          </pc:cxnChg>
        </pc:sldLayoutChg>
        <pc:sldLayoutChg chg="modSp mod">
          <pc:chgData name="Verma, Ashish" userId="3836a5db-5d69-45a1-ad23-2de5fe2194cf" providerId="ADAL" clId="{8C6611B2-B8DA-C645-9316-E43DCB7CB96A}" dt="2022-01-03T08:50:51.644" v="5" actId="12789"/>
          <pc:sldLayoutMkLst>
            <pc:docMk/>
            <pc:sldMasterMk cId="1230176099" sldId="2147483922"/>
            <pc:sldLayoutMk cId="2908457221" sldId="2147483980"/>
          </pc:sldLayoutMkLst>
          <pc:spChg chg="mod">
            <ac:chgData name="Verma, Ashish" userId="3836a5db-5d69-45a1-ad23-2de5fe2194cf" providerId="ADAL" clId="{8C6611B2-B8DA-C645-9316-E43DCB7CB96A}" dt="2022-01-03T08:50:51.644" v="5" actId="12789"/>
            <ac:spMkLst>
              <pc:docMk/>
              <pc:sldMasterMk cId="1230176099" sldId="2147483922"/>
              <pc:sldLayoutMk cId="2908457221" sldId="2147483980"/>
              <ac:spMk id="30" creationId="{E5E4ECB0-D79F-420B-AA78-9BD033285962}"/>
            </ac:spMkLst>
          </pc:spChg>
          <pc:cxnChg chg="mod">
            <ac:chgData name="Verma, Ashish" userId="3836a5db-5d69-45a1-ad23-2de5fe2194cf" providerId="ADAL" clId="{8C6611B2-B8DA-C645-9316-E43DCB7CB96A}" dt="2022-01-03T08:50:51.644" v="5" actId="12789"/>
            <ac:cxnSpMkLst>
              <pc:docMk/>
              <pc:sldMasterMk cId="1230176099" sldId="2147483922"/>
              <pc:sldLayoutMk cId="2908457221" sldId="2147483980"/>
              <ac:cxnSpMk id="29" creationId="{18C19E7C-95E6-45A2-8A9E-30E743991B8E}"/>
            </ac:cxnSpMkLst>
          </pc:cxnChg>
        </pc:sldLayoutChg>
        <pc:sldLayoutChg chg="modSp">
          <pc:chgData name="Verma, Ashish" userId="3836a5db-5d69-45a1-ad23-2de5fe2194cf" providerId="ADAL" clId="{8C6611B2-B8DA-C645-9316-E43DCB7CB96A}" dt="2022-01-03T08:26:59.577" v="2"/>
          <pc:sldLayoutMkLst>
            <pc:docMk/>
            <pc:sldMasterMk cId="1230176099" sldId="2147483922"/>
            <pc:sldLayoutMk cId="2965961923" sldId="2147483991"/>
          </pc:sldLayoutMkLst>
          <pc:spChg chg="mod">
            <ac:chgData name="Verma, Ashish" userId="3836a5db-5d69-45a1-ad23-2de5fe2194cf" providerId="ADAL" clId="{8C6611B2-B8DA-C645-9316-E43DCB7CB96A}" dt="2022-01-03T08:26:59.577" v="2"/>
            <ac:spMkLst>
              <pc:docMk/>
              <pc:sldMasterMk cId="1230176099" sldId="2147483922"/>
              <pc:sldLayoutMk cId="2965961923" sldId="2147483991"/>
              <ac:spMk id="26" creationId="{427E4AD8-9ECB-4EAD-A475-BE7E52271725}"/>
            </ac:spMkLst>
          </pc:spChg>
        </pc:sldLayoutChg>
        <pc:sldLayoutChg chg="modSp mod">
          <pc:chgData name="Verma, Ashish" userId="3836a5db-5d69-45a1-ad23-2de5fe2194cf" providerId="ADAL" clId="{8C6611B2-B8DA-C645-9316-E43DCB7CB96A}" dt="2022-01-03T11:20:06.400" v="16" actId="20577"/>
          <pc:sldLayoutMkLst>
            <pc:docMk/>
            <pc:sldMasterMk cId="1230176099" sldId="2147483922"/>
            <pc:sldLayoutMk cId="2078384963" sldId="2147484022"/>
          </pc:sldLayoutMkLst>
          <pc:spChg chg="mod">
            <ac:chgData name="Verma, Ashish" userId="3836a5db-5d69-45a1-ad23-2de5fe2194cf" providerId="ADAL" clId="{8C6611B2-B8DA-C645-9316-E43DCB7CB96A}" dt="2022-01-03T11:20:06.400" v="16" actId="20577"/>
            <ac:spMkLst>
              <pc:docMk/>
              <pc:sldMasterMk cId="1230176099" sldId="2147483922"/>
              <pc:sldLayoutMk cId="2078384963" sldId="2147484022"/>
              <ac:spMk id="15" creationId="{CBC89B2C-0D14-450B-B5D7-1D2198B6CE15}"/>
            </ac:spMkLst>
          </pc:spChg>
        </pc:sldLayoutChg>
        <pc:sldLayoutChg chg="modSp mod">
          <pc:chgData name="Verma, Ashish" userId="3836a5db-5d69-45a1-ad23-2de5fe2194cf" providerId="ADAL" clId="{8C6611B2-B8DA-C645-9316-E43DCB7CB96A}" dt="2022-01-03T11:20:14.062" v="19" actId="20577"/>
          <pc:sldLayoutMkLst>
            <pc:docMk/>
            <pc:sldMasterMk cId="1230176099" sldId="2147483922"/>
            <pc:sldLayoutMk cId="3875830055" sldId="2147484036"/>
          </pc:sldLayoutMkLst>
          <pc:spChg chg="mod">
            <ac:chgData name="Verma, Ashish" userId="3836a5db-5d69-45a1-ad23-2de5fe2194cf" providerId="ADAL" clId="{8C6611B2-B8DA-C645-9316-E43DCB7CB96A}" dt="2022-01-03T11:20:14.062" v="19" actId="20577"/>
            <ac:spMkLst>
              <pc:docMk/>
              <pc:sldMasterMk cId="1230176099" sldId="2147483922"/>
              <pc:sldLayoutMk cId="3875830055" sldId="2147484036"/>
              <ac:spMk id="25" creationId="{D29C9236-3249-44B8-B64A-3A8701A97B2F}"/>
            </ac:spMkLst>
          </pc:spChg>
        </pc:sldLayoutChg>
        <pc:sldLayoutChg chg="modSp mod">
          <pc:chgData name="Verma, Ashish" userId="3836a5db-5d69-45a1-ad23-2de5fe2194cf" providerId="ADAL" clId="{8C6611B2-B8DA-C645-9316-E43DCB7CB96A}" dt="2022-01-03T11:20:19.793" v="22" actId="20577"/>
          <pc:sldLayoutMkLst>
            <pc:docMk/>
            <pc:sldMasterMk cId="1230176099" sldId="2147483922"/>
            <pc:sldLayoutMk cId="1990018161" sldId="2147484037"/>
          </pc:sldLayoutMkLst>
          <pc:spChg chg="mod">
            <ac:chgData name="Verma, Ashish" userId="3836a5db-5d69-45a1-ad23-2de5fe2194cf" providerId="ADAL" clId="{8C6611B2-B8DA-C645-9316-E43DCB7CB96A}" dt="2022-01-03T11:20:19.793" v="22" actId="20577"/>
            <ac:spMkLst>
              <pc:docMk/>
              <pc:sldMasterMk cId="1230176099" sldId="2147483922"/>
              <pc:sldLayoutMk cId="1990018161" sldId="2147484037"/>
              <ac:spMk id="25" creationId="{7FDF3230-E8A4-46F7-9254-015047F3D37A}"/>
            </ac:spMkLst>
          </pc:spChg>
        </pc:sldLayoutChg>
        <pc:sldLayoutChg chg="modSp mod">
          <pc:chgData name="Verma, Ashish" userId="3836a5db-5d69-45a1-ad23-2de5fe2194cf" providerId="ADAL" clId="{8C6611B2-B8DA-C645-9316-E43DCB7CB96A}" dt="2022-01-03T11:20:25.358" v="25" actId="20577"/>
          <pc:sldLayoutMkLst>
            <pc:docMk/>
            <pc:sldMasterMk cId="1230176099" sldId="2147483922"/>
            <pc:sldLayoutMk cId="833927887" sldId="2147484038"/>
          </pc:sldLayoutMkLst>
          <pc:spChg chg="mod">
            <ac:chgData name="Verma, Ashish" userId="3836a5db-5d69-45a1-ad23-2de5fe2194cf" providerId="ADAL" clId="{8C6611B2-B8DA-C645-9316-E43DCB7CB96A}" dt="2022-01-03T11:20:25.358" v="25" actId="20577"/>
            <ac:spMkLst>
              <pc:docMk/>
              <pc:sldMasterMk cId="1230176099" sldId="2147483922"/>
              <pc:sldLayoutMk cId="833927887" sldId="2147484038"/>
              <ac:spMk id="16" creationId="{D6912C0B-C609-4F79-A2D2-BC9739BE1559}"/>
            </ac:spMkLst>
          </pc:spChg>
        </pc:sldLayoutChg>
        <pc:sldLayoutChg chg="modSp mod">
          <pc:chgData name="Verma, Ashish" userId="3836a5db-5d69-45a1-ad23-2de5fe2194cf" providerId="ADAL" clId="{8C6611B2-B8DA-C645-9316-E43DCB7CB96A}" dt="2022-01-03T11:20:31.256" v="28" actId="20577"/>
          <pc:sldLayoutMkLst>
            <pc:docMk/>
            <pc:sldMasterMk cId="1230176099" sldId="2147483922"/>
            <pc:sldLayoutMk cId="2002650245" sldId="2147484039"/>
          </pc:sldLayoutMkLst>
          <pc:spChg chg="mod">
            <ac:chgData name="Verma, Ashish" userId="3836a5db-5d69-45a1-ad23-2de5fe2194cf" providerId="ADAL" clId="{8C6611B2-B8DA-C645-9316-E43DCB7CB96A}" dt="2022-01-03T11:20:31.256" v="28" actId="20577"/>
            <ac:spMkLst>
              <pc:docMk/>
              <pc:sldMasterMk cId="1230176099" sldId="2147483922"/>
              <pc:sldLayoutMk cId="2002650245" sldId="2147484039"/>
              <ac:spMk id="22" creationId="{339B6FF6-93D2-4FF6-8950-F2CF8B786352}"/>
            </ac:spMkLst>
          </pc:spChg>
        </pc:sldLayoutChg>
        <pc:sldLayoutChg chg="modSp mod">
          <pc:chgData name="Verma, Ashish" userId="3836a5db-5d69-45a1-ad23-2de5fe2194cf" providerId="ADAL" clId="{8C6611B2-B8DA-C645-9316-E43DCB7CB96A}" dt="2022-01-03T11:20:36.329" v="31" actId="20577"/>
          <pc:sldLayoutMkLst>
            <pc:docMk/>
            <pc:sldMasterMk cId="1230176099" sldId="2147483922"/>
            <pc:sldLayoutMk cId="834986176" sldId="2147484040"/>
          </pc:sldLayoutMkLst>
          <pc:spChg chg="mod">
            <ac:chgData name="Verma, Ashish" userId="3836a5db-5d69-45a1-ad23-2de5fe2194cf" providerId="ADAL" clId="{8C6611B2-B8DA-C645-9316-E43DCB7CB96A}" dt="2022-01-03T11:20:36.329" v="31" actId="20577"/>
            <ac:spMkLst>
              <pc:docMk/>
              <pc:sldMasterMk cId="1230176099" sldId="2147483922"/>
              <pc:sldLayoutMk cId="834986176" sldId="2147484040"/>
              <ac:spMk id="15" creationId="{3701836E-5C0E-43C6-9958-98A0B7EB482C}"/>
            </ac:spMkLst>
          </pc:spChg>
        </pc:sldLayoutChg>
        <pc:sldLayoutChg chg="modSp mod">
          <pc:chgData name="Verma, Ashish" userId="3836a5db-5d69-45a1-ad23-2de5fe2194cf" providerId="ADAL" clId="{8C6611B2-B8DA-C645-9316-E43DCB7CB96A}" dt="2022-01-03T11:20:42.734" v="34" actId="20577"/>
          <pc:sldLayoutMkLst>
            <pc:docMk/>
            <pc:sldMasterMk cId="1230176099" sldId="2147483922"/>
            <pc:sldLayoutMk cId="3781204589" sldId="2147484041"/>
          </pc:sldLayoutMkLst>
          <pc:spChg chg="mod">
            <ac:chgData name="Verma, Ashish" userId="3836a5db-5d69-45a1-ad23-2de5fe2194cf" providerId="ADAL" clId="{8C6611B2-B8DA-C645-9316-E43DCB7CB96A}" dt="2022-01-03T11:20:42.734" v="34" actId="20577"/>
            <ac:spMkLst>
              <pc:docMk/>
              <pc:sldMasterMk cId="1230176099" sldId="2147483922"/>
              <pc:sldLayoutMk cId="3781204589" sldId="2147484041"/>
              <ac:spMk id="27" creationId="{DE17399A-9BCB-4777-82C2-24EB0EB41A55}"/>
            </ac:spMkLst>
          </pc:spChg>
        </pc:sldLayoutChg>
        <pc:sldLayoutChg chg="modSp mod">
          <pc:chgData name="Verma, Ashish" userId="3836a5db-5d69-45a1-ad23-2de5fe2194cf" providerId="ADAL" clId="{8C6611B2-B8DA-C645-9316-E43DCB7CB96A}" dt="2022-01-03T11:20:48.326" v="37" actId="20577"/>
          <pc:sldLayoutMkLst>
            <pc:docMk/>
            <pc:sldMasterMk cId="1230176099" sldId="2147483922"/>
            <pc:sldLayoutMk cId="3656906202" sldId="2147484053"/>
          </pc:sldLayoutMkLst>
          <pc:spChg chg="mod">
            <ac:chgData name="Verma, Ashish" userId="3836a5db-5d69-45a1-ad23-2de5fe2194cf" providerId="ADAL" clId="{8C6611B2-B8DA-C645-9316-E43DCB7CB96A}" dt="2022-01-03T11:20:48.326" v="37" actId="20577"/>
            <ac:spMkLst>
              <pc:docMk/>
              <pc:sldMasterMk cId="1230176099" sldId="2147483922"/>
              <pc:sldLayoutMk cId="3656906202" sldId="2147484053"/>
              <ac:spMk id="22" creationId="{2ED964B8-129D-46BC-A71D-04FA99073000}"/>
            </ac:spMkLst>
          </pc:spChg>
        </pc:sldLayoutChg>
        <pc:sldLayoutChg chg="modSp mod">
          <pc:chgData name="Verma, Ashish" userId="3836a5db-5d69-45a1-ad23-2de5fe2194cf" providerId="ADAL" clId="{8C6611B2-B8DA-C645-9316-E43DCB7CB96A}" dt="2022-01-03T11:20:51.834" v="40" actId="20577"/>
          <pc:sldLayoutMkLst>
            <pc:docMk/>
            <pc:sldMasterMk cId="1230176099" sldId="2147483922"/>
            <pc:sldLayoutMk cId="2275556806" sldId="2147484054"/>
          </pc:sldLayoutMkLst>
          <pc:spChg chg="mod">
            <ac:chgData name="Verma, Ashish" userId="3836a5db-5d69-45a1-ad23-2de5fe2194cf" providerId="ADAL" clId="{8C6611B2-B8DA-C645-9316-E43DCB7CB96A}" dt="2022-01-03T11:20:51.834" v="40" actId="20577"/>
            <ac:spMkLst>
              <pc:docMk/>
              <pc:sldMasterMk cId="1230176099" sldId="2147483922"/>
              <pc:sldLayoutMk cId="2275556806" sldId="2147484054"/>
              <ac:spMk id="16" creationId="{85EF1443-E124-419B-A68E-B851CAE96CE9}"/>
            </ac:spMkLst>
          </pc:spChg>
        </pc:sldLayoutChg>
        <pc:sldLayoutChg chg="modSp mod">
          <pc:chgData name="Verma, Ashish" userId="3836a5db-5d69-45a1-ad23-2de5fe2194cf" providerId="ADAL" clId="{8C6611B2-B8DA-C645-9316-E43DCB7CB96A}" dt="2022-01-03T11:20:58.581" v="43" actId="20577"/>
          <pc:sldLayoutMkLst>
            <pc:docMk/>
            <pc:sldMasterMk cId="1230176099" sldId="2147483922"/>
            <pc:sldLayoutMk cId="711970011" sldId="2147484056"/>
          </pc:sldLayoutMkLst>
          <pc:spChg chg="mod">
            <ac:chgData name="Verma, Ashish" userId="3836a5db-5d69-45a1-ad23-2de5fe2194cf" providerId="ADAL" clId="{8C6611B2-B8DA-C645-9316-E43DCB7CB96A}" dt="2022-01-03T11:20:58.581" v="43" actId="20577"/>
            <ac:spMkLst>
              <pc:docMk/>
              <pc:sldMasterMk cId="1230176099" sldId="2147483922"/>
              <pc:sldLayoutMk cId="711970011" sldId="2147484056"/>
              <ac:spMk id="16" creationId="{85EF1443-E124-419B-A68E-B851CAE96CE9}"/>
            </ac:spMkLst>
          </pc:spChg>
        </pc:sldLayoutChg>
        <pc:sldLayoutChg chg="modSp mod">
          <pc:chgData name="Verma, Ashish" userId="3836a5db-5d69-45a1-ad23-2de5fe2194cf" providerId="ADAL" clId="{8C6611B2-B8DA-C645-9316-E43DCB7CB96A}" dt="2022-01-03T11:21:03.339" v="46" actId="20577"/>
          <pc:sldLayoutMkLst>
            <pc:docMk/>
            <pc:sldMasterMk cId="1230176099" sldId="2147483922"/>
            <pc:sldLayoutMk cId="1287515115" sldId="2147484057"/>
          </pc:sldLayoutMkLst>
          <pc:spChg chg="mod">
            <ac:chgData name="Verma, Ashish" userId="3836a5db-5d69-45a1-ad23-2de5fe2194cf" providerId="ADAL" clId="{8C6611B2-B8DA-C645-9316-E43DCB7CB96A}" dt="2022-01-03T11:21:03.339" v="46" actId="20577"/>
            <ac:spMkLst>
              <pc:docMk/>
              <pc:sldMasterMk cId="1230176099" sldId="2147483922"/>
              <pc:sldLayoutMk cId="1287515115" sldId="2147484057"/>
              <ac:spMk id="16" creationId="{FFA19A17-5BEC-4FF8-9C41-47CA631E9C5E}"/>
            </ac:spMkLst>
          </pc:spChg>
        </pc:sldLayoutChg>
        <pc:sldLayoutChg chg="modSp mod">
          <pc:chgData name="Verma, Ashish" userId="3836a5db-5d69-45a1-ad23-2de5fe2194cf" providerId="ADAL" clId="{8C6611B2-B8DA-C645-9316-E43DCB7CB96A}" dt="2022-01-03T11:21:07.749" v="49" actId="20577"/>
          <pc:sldLayoutMkLst>
            <pc:docMk/>
            <pc:sldMasterMk cId="1230176099" sldId="2147483922"/>
            <pc:sldLayoutMk cId="1293058597" sldId="2147484058"/>
          </pc:sldLayoutMkLst>
          <pc:spChg chg="mod">
            <ac:chgData name="Verma, Ashish" userId="3836a5db-5d69-45a1-ad23-2de5fe2194cf" providerId="ADAL" clId="{8C6611B2-B8DA-C645-9316-E43DCB7CB96A}" dt="2022-01-03T11:21:07.749" v="49" actId="20577"/>
            <ac:spMkLst>
              <pc:docMk/>
              <pc:sldMasterMk cId="1230176099" sldId="2147483922"/>
              <pc:sldLayoutMk cId="1293058597" sldId="2147484058"/>
              <ac:spMk id="16" creationId="{DF64AF88-89F8-47DA-BB23-072229F2EF47}"/>
            </ac:spMkLst>
          </pc:spChg>
        </pc:sldLayoutChg>
        <pc:sldLayoutChg chg="modSp mod">
          <pc:chgData name="Verma, Ashish" userId="3836a5db-5d69-45a1-ad23-2de5fe2194cf" providerId="ADAL" clId="{8C6611B2-B8DA-C645-9316-E43DCB7CB96A}" dt="2022-01-03T11:21:12.149" v="52" actId="20577"/>
          <pc:sldLayoutMkLst>
            <pc:docMk/>
            <pc:sldMasterMk cId="1230176099" sldId="2147483922"/>
            <pc:sldLayoutMk cId="946597763" sldId="2147484059"/>
          </pc:sldLayoutMkLst>
          <pc:spChg chg="mod">
            <ac:chgData name="Verma, Ashish" userId="3836a5db-5d69-45a1-ad23-2de5fe2194cf" providerId="ADAL" clId="{8C6611B2-B8DA-C645-9316-E43DCB7CB96A}" dt="2022-01-03T11:21:12.149" v="52" actId="20577"/>
            <ac:spMkLst>
              <pc:docMk/>
              <pc:sldMasterMk cId="1230176099" sldId="2147483922"/>
              <pc:sldLayoutMk cId="946597763" sldId="2147484059"/>
              <ac:spMk id="16" creationId="{41749CDC-7165-4600-B762-218836453CD0}"/>
            </ac:spMkLst>
          </pc:spChg>
        </pc:sldLayoutChg>
        <pc:sldLayoutChg chg="modSp mod">
          <pc:chgData name="Verma, Ashish" userId="3836a5db-5d69-45a1-ad23-2de5fe2194cf" providerId="ADAL" clId="{8C6611B2-B8DA-C645-9316-E43DCB7CB96A}" dt="2022-01-03T11:21:15.729" v="55" actId="20577"/>
          <pc:sldLayoutMkLst>
            <pc:docMk/>
            <pc:sldMasterMk cId="1230176099" sldId="2147483922"/>
            <pc:sldLayoutMk cId="2265718230" sldId="2147484060"/>
          </pc:sldLayoutMkLst>
          <pc:spChg chg="mod">
            <ac:chgData name="Verma, Ashish" userId="3836a5db-5d69-45a1-ad23-2de5fe2194cf" providerId="ADAL" clId="{8C6611B2-B8DA-C645-9316-E43DCB7CB96A}" dt="2022-01-03T11:21:15.729" v="55" actId="20577"/>
            <ac:spMkLst>
              <pc:docMk/>
              <pc:sldMasterMk cId="1230176099" sldId="2147483922"/>
              <pc:sldLayoutMk cId="2265718230" sldId="2147484060"/>
              <ac:spMk id="25" creationId="{CF554635-E8C2-4FB3-962C-ECDAC8FD1A10}"/>
            </ac:spMkLst>
          </pc:spChg>
        </pc:sldLayoutChg>
        <pc:sldLayoutChg chg="modSp mod">
          <pc:chgData name="Verma, Ashish" userId="3836a5db-5d69-45a1-ad23-2de5fe2194cf" providerId="ADAL" clId="{8C6611B2-B8DA-C645-9316-E43DCB7CB96A}" dt="2022-01-03T11:21:19.079" v="58" actId="20577"/>
          <pc:sldLayoutMkLst>
            <pc:docMk/>
            <pc:sldMasterMk cId="1230176099" sldId="2147483922"/>
            <pc:sldLayoutMk cId="1093959528" sldId="2147484072"/>
          </pc:sldLayoutMkLst>
          <pc:spChg chg="mod">
            <ac:chgData name="Verma, Ashish" userId="3836a5db-5d69-45a1-ad23-2de5fe2194cf" providerId="ADAL" clId="{8C6611B2-B8DA-C645-9316-E43DCB7CB96A}" dt="2022-01-03T11:21:19.079" v="58" actId="20577"/>
            <ac:spMkLst>
              <pc:docMk/>
              <pc:sldMasterMk cId="1230176099" sldId="2147483922"/>
              <pc:sldLayoutMk cId="1093959528" sldId="2147484072"/>
              <ac:spMk id="12" creationId="{96AD0679-5FB4-479B-8060-B13186A4FE61}"/>
            </ac:spMkLst>
          </pc:spChg>
        </pc:sldLayoutChg>
        <pc:sldLayoutChg chg="modSp mod">
          <pc:chgData name="Verma, Ashish" userId="3836a5db-5d69-45a1-ad23-2de5fe2194cf" providerId="ADAL" clId="{8C6611B2-B8DA-C645-9316-E43DCB7CB96A}" dt="2022-01-03T11:21:23.367" v="61" actId="20577"/>
          <pc:sldLayoutMkLst>
            <pc:docMk/>
            <pc:sldMasterMk cId="1230176099" sldId="2147483922"/>
            <pc:sldLayoutMk cId="2002943818" sldId="2147484073"/>
          </pc:sldLayoutMkLst>
          <pc:spChg chg="mod">
            <ac:chgData name="Verma, Ashish" userId="3836a5db-5d69-45a1-ad23-2de5fe2194cf" providerId="ADAL" clId="{8C6611B2-B8DA-C645-9316-E43DCB7CB96A}" dt="2022-01-03T11:21:23.367" v="61" actId="20577"/>
            <ac:spMkLst>
              <pc:docMk/>
              <pc:sldMasterMk cId="1230176099" sldId="2147483922"/>
              <pc:sldLayoutMk cId="2002943818" sldId="2147484073"/>
              <ac:spMk id="22" creationId="{A9AFBF42-B1A8-43A2-946D-50BA3EAE17CD}"/>
            </ac:spMkLst>
          </pc:spChg>
        </pc:sldLayoutChg>
        <pc:sldLayoutChg chg="modSp mod">
          <pc:chgData name="Verma, Ashish" userId="3836a5db-5d69-45a1-ad23-2de5fe2194cf" providerId="ADAL" clId="{8C6611B2-B8DA-C645-9316-E43DCB7CB96A}" dt="2022-01-03T11:21:28.590" v="64" actId="20577"/>
          <pc:sldLayoutMkLst>
            <pc:docMk/>
            <pc:sldMasterMk cId="1230176099" sldId="2147483922"/>
            <pc:sldLayoutMk cId="2066323989" sldId="2147484074"/>
          </pc:sldLayoutMkLst>
          <pc:spChg chg="mod">
            <ac:chgData name="Verma, Ashish" userId="3836a5db-5d69-45a1-ad23-2de5fe2194cf" providerId="ADAL" clId="{8C6611B2-B8DA-C645-9316-E43DCB7CB96A}" dt="2022-01-03T11:21:28.590" v="64" actId="20577"/>
            <ac:spMkLst>
              <pc:docMk/>
              <pc:sldMasterMk cId="1230176099" sldId="2147483922"/>
              <pc:sldLayoutMk cId="2066323989" sldId="2147484074"/>
              <ac:spMk id="16" creationId="{301CD5CD-0DFE-4399-AE3B-0712E6F17977}"/>
            </ac:spMkLst>
          </pc:spChg>
        </pc:sldLayoutChg>
        <pc:sldLayoutChg chg="modSp mod">
          <pc:chgData name="Verma, Ashish" userId="3836a5db-5d69-45a1-ad23-2de5fe2194cf" providerId="ADAL" clId="{8C6611B2-B8DA-C645-9316-E43DCB7CB96A}" dt="2022-01-03T11:21:32.730" v="67" actId="20577"/>
          <pc:sldLayoutMkLst>
            <pc:docMk/>
            <pc:sldMasterMk cId="1230176099" sldId="2147483922"/>
            <pc:sldLayoutMk cId="2390921212" sldId="2147484075"/>
          </pc:sldLayoutMkLst>
          <pc:spChg chg="mod">
            <ac:chgData name="Verma, Ashish" userId="3836a5db-5d69-45a1-ad23-2de5fe2194cf" providerId="ADAL" clId="{8C6611B2-B8DA-C645-9316-E43DCB7CB96A}" dt="2022-01-03T11:21:32.730" v="67" actId="20577"/>
            <ac:spMkLst>
              <pc:docMk/>
              <pc:sldMasterMk cId="1230176099" sldId="2147483922"/>
              <pc:sldLayoutMk cId="2390921212" sldId="2147484075"/>
              <ac:spMk id="25" creationId="{A3888372-BA31-44B1-9BC3-C9D404F290FC}"/>
            </ac:spMkLst>
          </pc:spChg>
        </pc:sldLayoutChg>
        <pc:sldLayoutChg chg="modSp mod">
          <pc:chgData name="Verma, Ashish" userId="3836a5db-5d69-45a1-ad23-2de5fe2194cf" providerId="ADAL" clId="{8C6611B2-B8DA-C645-9316-E43DCB7CB96A}" dt="2022-01-03T11:21:37.189" v="70" actId="20577"/>
          <pc:sldLayoutMkLst>
            <pc:docMk/>
            <pc:sldMasterMk cId="1230176099" sldId="2147483922"/>
            <pc:sldLayoutMk cId="1625967759" sldId="2147484076"/>
          </pc:sldLayoutMkLst>
          <pc:spChg chg="mod">
            <ac:chgData name="Verma, Ashish" userId="3836a5db-5d69-45a1-ad23-2de5fe2194cf" providerId="ADAL" clId="{8C6611B2-B8DA-C645-9316-E43DCB7CB96A}" dt="2022-01-03T11:21:37.189" v="70" actId="20577"/>
            <ac:spMkLst>
              <pc:docMk/>
              <pc:sldMasterMk cId="1230176099" sldId="2147483922"/>
              <pc:sldLayoutMk cId="1625967759" sldId="2147484076"/>
              <ac:spMk id="16" creationId="{A0C09997-C596-4130-97B1-FB7A27A72774}"/>
            </ac:spMkLst>
          </pc:spChg>
        </pc:sldLayoutChg>
        <pc:sldLayoutChg chg="modSp mod">
          <pc:chgData name="Verma, Ashish" userId="3836a5db-5d69-45a1-ad23-2de5fe2194cf" providerId="ADAL" clId="{8C6611B2-B8DA-C645-9316-E43DCB7CB96A}" dt="2022-01-03T11:21:41.380" v="73" actId="20577"/>
          <pc:sldLayoutMkLst>
            <pc:docMk/>
            <pc:sldMasterMk cId="1230176099" sldId="2147483922"/>
            <pc:sldLayoutMk cId="79194392" sldId="2147484077"/>
          </pc:sldLayoutMkLst>
          <pc:spChg chg="mod">
            <ac:chgData name="Verma, Ashish" userId="3836a5db-5d69-45a1-ad23-2de5fe2194cf" providerId="ADAL" clId="{8C6611B2-B8DA-C645-9316-E43DCB7CB96A}" dt="2022-01-03T11:21:41.380" v="73" actId="20577"/>
            <ac:spMkLst>
              <pc:docMk/>
              <pc:sldMasterMk cId="1230176099" sldId="2147483922"/>
              <pc:sldLayoutMk cId="79194392" sldId="2147484077"/>
              <ac:spMk id="16" creationId="{79F5E370-5922-4D52-AA2F-B0C0B01DCB00}"/>
            </ac:spMkLst>
          </pc:spChg>
        </pc:sldLayoutChg>
        <pc:sldLayoutChg chg="modSp mod">
          <pc:chgData name="Verma, Ashish" userId="3836a5db-5d69-45a1-ad23-2de5fe2194cf" providerId="ADAL" clId="{8C6611B2-B8DA-C645-9316-E43DCB7CB96A}" dt="2022-01-03T11:21:47.589" v="76" actId="20577"/>
          <pc:sldLayoutMkLst>
            <pc:docMk/>
            <pc:sldMasterMk cId="1230176099" sldId="2147483922"/>
            <pc:sldLayoutMk cId="3820928222" sldId="2147484079"/>
          </pc:sldLayoutMkLst>
          <pc:spChg chg="mod">
            <ac:chgData name="Verma, Ashish" userId="3836a5db-5d69-45a1-ad23-2de5fe2194cf" providerId="ADAL" clId="{8C6611B2-B8DA-C645-9316-E43DCB7CB96A}" dt="2022-01-03T11:21:47.589" v="76" actId="20577"/>
            <ac:spMkLst>
              <pc:docMk/>
              <pc:sldMasterMk cId="1230176099" sldId="2147483922"/>
              <pc:sldLayoutMk cId="3820928222" sldId="2147484079"/>
              <ac:spMk id="16" creationId="{36D79882-DF83-4F46-88F0-3F6EDCCC1095}"/>
            </ac:spMkLst>
          </pc:spChg>
        </pc:sldLayoutChg>
        <pc:sldLayoutChg chg="modSp mod">
          <pc:chgData name="Verma, Ashish" userId="3836a5db-5d69-45a1-ad23-2de5fe2194cf" providerId="ADAL" clId="{8C6611B2-B8DA-C645-9316-E43DCB7CB96A}" dt="2022-01-03T11:21:52.550" v="79" actId="20577"/>
          <pc:sldLayoutMkLst>
            <pc:docMk/>
            <pc:sldMasterMk cId="1230176099" sldId="2147483922"/>
            <pc:sldLayoutMk cId="1081440660" sldId="2147484091"/>
          </pc:sldLayoutMkLst>
          <pc:spChg chg="mod">
            <ac:chgData name="Verma, Ashish" userId="3836a5db-5d69-45a1-ad23-2de5fe2194cf" providerId="ADAL" clId="{8C6611B2-B8DA-C645-9316-E43DCB7CB96A}" dt="2022-01-03T11:21:52.550" v="79" actId="20577"/>
            <ac:spMkLst>
              <pc:docMk/>
              <pc:sldMasterMk cId="1230176099" sldId="2147483922"/>
              <pc:sldLayoutMk cId="1081440660" sldId="2147484091"/>
              <ac:spMk id="25" creationId="{C5938232-70EC-4D0F-8E90-41C956FE2638}"/>
            </ac:spMkLst>
          </pc:spChg>
        </pc:sldLayoutChg>
        <pc:sldLayoutChg chg="modSp mod">
          <pc:chgData name="Verma, Ashish" userId="3836a5db-5d69-45a1-ad23-2de5fe2194cf" providerId="ADAL" clId="{8C6611B2-B8DA-C645-9316-E43DCB7CB96A}" dt="2022-01-03T11:21:59.491" v="82" actId="20577"/>
          <pc:sldLayoutMkLst>
            <pc:docMk/>
            <pc:sldMasterMk cId="1230176099" sldId="2147483922"/>
            <pc:sldLayoutMk cId="2325654247" sldId="2147484092"/>
          </pc:sldLayoutMkLst>
          <pc:spChg chg="mod">
            <ac:chgData name="Verma, Ashish" userId="3836a5db-5d69-45a1-ad23-2de5fe2194cf" providerId="ADAL" clId="{8C6611B2-B8DA-C645-9316-E43DCB7CB96A}" dt="2022-01-03T11:21:59.491" v="82" actId="20577"/>
            <ac:spMkLst>
              <pc:docMk/>
              <pc:sldMasterMk cId="1230176099" sldId="2147483922"/>
              <pc:sldLayoutMk cId="2325654247" sldId="2147484092"/>
              <ac:spMk id="21" creationId="{D3009121-3F86-4CA3-B9A2-6BDAAB9BB413}"/>
            </ac:spMkLst>
          </pc:spChg>
        </pc:sldLayoutChg>
        <pc:sldLayoutChg chg="modSp mod">
          <pc:chgData name="Verma, Ashish" userId="3836a5db-5d69-45a1-ad23-2de5fe2194cf" providerId="ADAL" clId="{8C6611B2-B8DA-C645-9316-E43DCB7CB96A}" dt="2022-01-03T11:22:04.183" v="85" actId="20577"/>
          <pc:sldLayoutMkLst>
            <pc:docMk/>
            <pc:sldMasterMk cId="1230176099" sldId="2147483922"/>
            <pc:sldLayoutMk cId="568422843" sldId="2147484093"/>
          </pc:sldLayoutMkLst>
          <pc:spChg chg="mod">
            <ac:chgData name="Verma, Ashish" userId="3836a5db-5d69-45a1-ad23-2de5fe2194cf" providerId="ADAL" clId="{8C6611B2-B8DA-C645-9316-E43DCB7CB96A}" dt="2022-01-03T11:22:04.183" v="85" actId="20577"/>
            <ac:spMkLst>
              <pc:docMk/>
              <pc:sldMasterMk cId="1230176099" sldId="2147483922"/>
              <pc:sldLayoutMk cId="568422843" sldId="2147484093"/>
              <ac:spMk id="22" creationId="{5C75B060-F6DA-44FA-9F1B-F3D415700C7E}"/>
            </ac:spMkLst>
          </pc:spChg>
        </pc:sldLayoutChg>
        <pc:sldLayoutChg chg="modSp mod">
          <pc:chgData name="Verma, Ashish" userId="3836a5db-5d69-45a1-ad23-2de5fe2194cf" providerId="ADAL" clId="{8C6611B2-B8DA-C645-9316-E43DCB7CB96A}" dt="2022-01-03T11:22:08.433" v="88" actId="20577"/>
          <pc:sldLayoutMkLst>
            <pc:docMk/>
            <pc:sldMasterMk cId="1230176099" sldId="2147483922"/>
            <pc:sldLayoutMk cId="1877464895" sldId="2147484094"/>
          </pc:sldLayoutMkLst>
          <pc:spChg chg="mod">
            <ac:chgData name="Verma, Ashish" userId="3836a5db-5d69-45a1-ad23-2de5fe2194cf" providerId="ADAL" clId="{8C6611B2-B8DA-C645-9316-E43DCB7CB96A}" dt="2022-01-03T11:22:08.433" v="88" actId="20577"/>
            <ac:spMkLst>
              <pc:docMk/>
              <pc:sldMasterMk cId="1230176099" sldId="2147483922"/>
              <pc:sldLayoutMk cId="1877464895" sldId="2147484094"/>
              <ac:spMk id="22" creationId="{5C75B060-F6DA-44FA-9F1B-F3D415700C7E}"/>
            </ac:spMkLst>
          </pc:spChg>
        </pc:sldLayoutChg>
        <pc:sldLayoutChg chg="modSp mod">
          <pc:chgData name="Verma, Ashish" userId="3836a5db-5d69-45a1-ad23-2de5fe2194cf" providerId="ADAL" clId="{8C6611B2-B8DA-C645-9316-E43DCB7CB96A}" dt="2022-01-03T11:22:15.066" v="91" actId="20577"/>
          <pc:sldLayoutMkLst>
            <pc:docMk/>
            <pc:sldMasterMk cId="1230176099" sldId="2147483922"/>
            <pc:sldLayoutMk cId="208338640" sldId="2147484095"/>
          </pc:sldLayoutMkLst>
          <pc:spChg chg="mod">
            <ac:chgData name="Verma, Ashish" userId="3836a5db-5d69-45a1-ad23-2de5fe2194cf" providerId="ADAL" clId="{8C6611B2-B8DA-C645-9316-E43DCB7CB96A}" dt="2022-01-03T11:22:15.066" v="91" actId="20577"/>
            <ac:spMkLst>
              <pc:docMk/>
              <pc:sldMasterMk cId="1230176099" sldId="2147483922"/>
              <pc:sldLayoutMk cId="208338640" sldId="2147484095"/>
              <ac:spMk id="22" creationId="{5C75B060-F6DA-44FA-9F1B-F3D415700C7E}"/>
            </ac:spMkLst>
          </pc:spChg>
        </pc:sldLayoutChg>
        <pc:sldLayoutChg chg="modSp mod">
          <pc:chgData name="Verma, Ashish" userId="3836a5db-5d69-45a1-ad23-2de5fe2194cf" providerId="ADAL" clId="{8C6611B2-B8DA-C645-9316-E43DCB7CB96A}" dt="2022-01-03T11:22:21.206" v="94" actId="20577"/>
          <pc:sldLayoutMkLst>
            <pc:docMk/>
            <pc:sldMasterMk cId="1230176099" sldId="2147483922"/>
            <pc:sldLayoutMk cId="1449827989" sldId="2147484096"/>
          </pc:sldLayoutMkLst>
          <pc:spChg chg="mod">
            <ac:chgData name="Verma, Ashish" userId="3836a5db-5d69-45a1-ad23-2de5fe2194cf" providerId="ADAL" clId="{8C6611B2-B8DA-C645-9316-E43DCB7CB96A}" dt="2022-01-03T11:22:21.206" v="94" actId="20577"/>
            <ac:spMkLst>
              <pc:docMk/>
              <pc:sldMasterMk cId="1230176099" sldId="2147483922"/>
              <pc:sldLayoutMk cId="1449827989" sldId="2147484096"/>
              <ac:spMk id="22" creationId="{5C75B060-F6DA-44FA-9F1B-F3D415700C7E}"/>
            </ac:spMkLst>
          </pc:spChg>
        </pc:sldLayoutChg>
        <pc:sldLayoutChg chg="modSp mod">
          <pc:chgData name="Verma, Ashish" userId="3836a5db-5d69-45a1-ad23-2de5fe2194cf" providerId="ADAL" clId="{8C6611B2-B8DA-C645-9316-E43DCB7CB96A}" dt="2022-01-03T11:22:26.957" v="97" actId="20577"/>
          <pc:sldLayoutMkLst>
            <pc:docMk/>
            <pc:sldMasterMk cId="1230176099" sldId="2147483922"/>
            <pc:sldLayoutMk cId="3815094537" sldId="2147484097"/>
          </pc:sldLayoutMkLst>
          <pc:spChg chg="mod">
            <ac:chgData name="Verma, Ashish" userId="3836a5db-5d69-45a1-ad23-2de5fe2194cf" providerId="ADAL" clId="{8C6611B2-B8DA-C645-9316-E43DCB7CB96A}" dt="2022-01-03T11:22:26.957" v="97" actId="20577"/>
            <ac:spMkLst>
              <pc:docMk/>
              <pc:sldMasterMk cId="1230176099" sldId="2147483922"/>
              <pc:sldLayoutMk cId="3815094537" sldId="2147484097"/>
              <ac:spMk id="22" creationId="{5C75B060-F6DA-44FA-9F1B-F3D415700C7E}"/>
            </ac:spMkLst>
          </pc:spChg>
        </pc:sldLayoutChg>
        <pc:sldLayoutChg chg="modSp mod">
          <pc:chgData name="Verma, Ashish" userId="3836a5db-5d69-45a1-ad23-2de5fe2194cf" providerId="ADAL" clId="{8C6611B2-B8DA-C645-9316-E43DCB7CB96A}" dt="2022-01-03T11:22:31.604" v="100" actId="20577"/>
          <pc:sldLayoutMkLst>
            <pc:docMk/>
            <pc:sldMasterMk cId="1230176099" sldId="2147483922"/>
            <pc:sldLayoutMk cId="4147226800" sldId="2147484098"/>
          </pc:sldLayoutMkLst>
          <pc:spChg chg="mod">
            <ac:chgData name="Verma, Ashish" userId="3836a5db-5d69-45a1-ad23-2de5fe2194cf" providerId="ADAL" clId="{8C6611B2-B8DA-C645-9316-E43DCB7CB96A}" dt="2022-01-03T11:22:31.604" v="100" actId="20577"/>
            <ac:spMkLst>
              <pc:docMk/>
              <pc:sldMasterMk cId="1230176099" sldId="2147483922"/>
              <pc:sldLayoutMk cId="4147226800" sldId="2147484098"/>
              <ac:spMk id="22" creationId="{5C75B060-F6DA-44FA-9F1B-F3D415700C7E}"/>
            </ac:spMkLst>
          </pc:spChg>
        </pc:sldLayoutChg>
        <pc:sldLayoutChg chg="modSp mod">
          <pc:chgData name="Verma, Ashish" userId="3836a5db-5d69-45a1-ad23-2de5fe2194cf" providerId="ADAL" clId="{8C6611B2-B8DA-C645-9316-E43DCB7CB96A}" dt="2022-01-03T11:22:36.201" v="103" actId="20577"/>
          <pc:sldLayoutMkLst>
            <pc:docMk/>
            <pc:sldMasterMk cId="1230176099" sldId="2147483922"/>
            <pc:sldLayoutMk cId="272053911" sldId="2147484099"/>
          </pc:sldLayoutMkLst>
          <pc:spChg chg="mod">
            <ac:chgData name="Verma, Ashish" userId="3836a5db-5d69-45a1-ad23-2de5fe2194cf" providerId="ADAL" clId="{8C6611B2-B8DA-C645-9316-E43DCB7CB96A}" dt="2022-01-03T11:22:36.201" v="103" actId="20577"/>
            <ac:spMkLst>
              <pc:docMk/>
              <pc:sldMasterMk cId="1230176099" sldId="2147483922"/>
              <pc:sldLayoutMk cId="272053911" sldId="2147484099"/>
              <ac:spMk id="22" creationId="{5C75B060-F6DA-44FA-9F1B-F3D415700C7E}"/>
            </ac:spMkLst>
          </pc:spChg>
        </pc:sldLayoutChg>
      </pc:sldMasterChg>
    </pc:docChg>
  </pc:docChgLst>
  <pc:docChgLst>
    <pc:chgData name="Sathish Kumar" userId="1d190e4f-7f91-4e76-b027-e1df0c971924" providerId="ADAL" clId="{D7303F48-5B72-1549-8197-E82423542B6A}"/>
    <pc:docChg chg="">
      <pc:chgData name="Sathish Kumar" userId="1d190e4f-7f91-4e76-b027-e1df0c971924" providerId="ADAL" clId="{D7303F48-5B72-1549-8197-E82423542B6A}" dt="2022-03-30T12:51:25.285" v="2" actId="2056"/>
      <pc:docMkLst>
        <pc:docMk/>
      </pc:docMkLst>
      <pc:sldChg chg="addCm modCm">
        <pc:chgData name="Sathish Kumar" userId="1d190e4f-7f91-4e76-b027-e1df0c971924" providerId="ADAL" clId="{D7303F48-5B72-1549-8197-E82423542B6A}" dt="2022-03-30T12:51:25.285" v="2" actId="2056"/>
        <pc:sldMkLst>
          <pc:docMk/>
          <pc:sldMk cId="2564010044" sldId="3527"/>
        </pc:sldMkLst>
      </pc:sldChg>
    </pc:docChg>
  </pc:docChgLst>
  <pc:docChgLst>
    <pc:chgData name="Baruah, Meghna" userId="ec4d5429-f521-47c5-a69d-ddef68e95d51" providerId="ADAL" clId="{56877017-4A01-E447-8CFA-30504A35B299}"/>
    <pc:docChg chg="undo modMainMaster">
      <pc:chgData name="Baruah, Meghna" userId="ec4d5429-f521-47c5-a69d-ddef68e95d51" providerId="ADAL" clId="{56877017-4A01-E447-8CFA-30504A35B299}" dt="2022-01-03T09:26:54.765" v="120" actId="2696"/>
      <pc:docMkLst>
        <pc:docMk/>
      </pc:docMkLst>
      <pc:sldMasterChg chg="addSldLayout delSldLayout modSldLayout sldLayoutOrd">
        <pc:chgData name="Baruah, Meghna" userId="ec4d5429-f521-47c5-a69d-ddef68e95d51" providerId="ADAL" clId="{56877017-4A01-E447-8CFA-30504A35B299}" dt="2022-01-03T09:26:54.765" v="120" actId="2696"/>
        <pc:sldMasterMkLst>
          <pc:docMk/>
          <pc:sldMasterMk cId="1230176099" sldId="2147483922"/>
        </pc:sldMasterMkLst>
        <pc:sldLayoutChg chg="modSp mod ord">
          <pc:chgData name="Baruah, Meghna" userId="ec4d5429-f521-47c5-a69d-ddef68e95d51" providerId="ADAL" clId="{56877017-4A01-E447-8CFA-30504A35B299}" dt="2022-01-03T09:22:12.429" v="56" actId="12789"/>
          <pc:sldLayoutMkLst>
            <pc:docMk/>
            <pc:sldMasterMk cId="1230176099" sldId="2147483922"/>
            <pc:sldLayoutMk cId="2629770154" sldId="2147483963"/>
          </pc:sldLayoutMkLst>
          <pc:spChg chg="mod">
            <ac:chgData name="Baruah, Meghna" userId="ec4d5429-f521-47c5-a69d-ddef68e95d51" providerId="ADAL" clId="{56877017-4A01-E447-8CFA-30504A35B299}" dt="2022-01-03T09:22:12.429" v="56" actId="12789"/>
            <ac:spMkLst>
              <pc:docMk/>
              <pc:sldMasterMk cId="1230176099" sldId="2147483922"/>
              <pc:sldLayoutMk cId="2629770154" sldId="2147483963"/>
              <ac:spMk id="15" creationId="{68C33FE8-483E-45E5-A1EC-F2397FE9F5E9}"/>
            </ac:spMkLst>
          </pc:spChg>
          <pc:cxnChg chg="mod">
            <ac:chgData name="Baruah, Meghna" userId="ec4d5429-f521-47c5-a69d-ddef68e95d51" providerId="ADAL" clId="{56877017-4A01-E447-8CFA-30504A35B299}" dt="2022-01-03T09:22:12.429" v="56" actId="12789"/>
            <ac:cxnSpMkLst>
              <pc:docMk/>
              <pc:sldMasterMk cId="1230176099" sldId="2147483922"/>
              <pc:sldLayoutMk cId="2629770154" sldId="2147483963"/>
              <ac:cxnSpMk id="13" creationId="{E9134E90-A4B3-4ABD-9D8A-4B2985DA4B26}"/>
            </ac:cxnSpMkLst>
          </pc:cxnChg>
        </pc:sldLayoutChg>
        <pc:sldLayoutChg chg="modSp mod ord">
          <pc:chgData name="Baruah, Meghna" userId="ec4d5429-f521-47c5-a69d-ddef68e95d51" providerId="ADAL" clId="{56877017-4A01-E447-8CFA-30504A35B299}" dt="2022-01-03T09:22:19.827" v="57" actId="12789"/>
          <pc:sldLayoutMkLst>
            <pc:docMk/>
            <pc:sldMasterMk cId="1230176099" sldId="2147483922"/>
            <pc:sldLayoutMk cId="3715369455" sldId="2147483964"/>
          </pc:sldLayoutMkLst>
          <pc:spChg chg="mod">
            <ac:chgData name="Baruah, Meghna" userId="ec4d5429-f521-47c5-a69d-ddef68e95d51" providerId="ADAL" clId="{56877017-4A01-E447-8CFA-30504A35B299}" dt="2022-01-03T09:22:19.827" v="57" actId="12789"/>
            <ac:spMkLst>
              <pc:docMk/>
              <pc:sldMasterMk cId="1230176099" sldId="2147483922"/>
              <pc:sldLayoutMk cId="3715369455" sldId="2147483964"/>
              <ac:spMk id="20" creationId="{217456EB-80F5-6945-8425-D8C2CD53F853}"/>
            </ac:spMkLst>
          </pc:spChg>
          <pc:cxnChg chg="mod">
            <ac:chgData name="Baruah, Meghna" userId="ec4d5429-f521-47c5-a69d-ddef68e95d51" providerId="ADAL" clId="{56877017-4A01-E447-8CFA-30504A35B299}" dt="2022-01-03T09:22:19.827" v="57" actId="12789"/>
            <ac:cxnSpMkLst>
              <pc:docMk/>
              <pc:sldMasterMk cId="1230176099" sldId="2147483922"/>
              <pc:sldLayoutMk cId="3715369455" sldId="2147483964"/>
              <ac:cxnSpMk id="19" creationId="{CAEFB0D9-F6A9-1A49-88B8-DCF8919074BE}"/>
            </ac:cxnSpMkLst>
          </pc:cxnChg>
        </pc:sldLayoutChg>
        <pc:sldLayoutChg chg="del">
          <pc:chgData name="Baruah, Meghna" userId="ec4d5429-f521-47c5-a69d-ddef68e95d51" providerId="ADAL" clId="{56877017-4A01-E447-8CFA-30504A35B299}" dt="2022-01-03T09:20:54.543" v="45" actId="2696"/>
          <pc:sldLayoutMkLst>
            <pc:docMk/>
            <pc:sldMasterMk cId="1230176099" sldId="2147483922"/>
            <pc:sldLayoutMk cId="2089972973" sldId="2147483965"/>
          </pc:sldLayoutMkLst>
        </pc:sldLayoutChg>
        <pc:sldLayoutChg chg="del">
          <pc:chgData name="Baruah, Meghna" userId="ec4d5429-f521-47c5-a69d-ddef68e95d51" providerId="ADAL" clId="{56877017-4A01-E447-8CFA-30504A35B299}" dt="2022-01-03T09:20:59.092" v="46" actId="2696"/>
          <pc:sldLayoutMkLst>
            <pc:docMk/>
            <pc:sldMasterMk cId="1230176099" sldId="2147483922"/>
            <pc:sldLayoutMk cId="657064296" sldId="2147483966"/>
          </pc:sldLayoutMkLst>
        </pc:sldLayoutChg>
        <pc:sldLayoutChg chg="del">
          <pc:chgData name="Baruah, Meghna" userId="ec4d5429-f521-47c5-a69d-ddef68e95d51" providerId="ADAL" clId="{56877017-4A01-E447-8CFA-30504A35B299}" dt="2022-01-03T09:21:01.173" v="47" actId="2696"/>
          <pc:sldLayoutMkLst>
            <pc:docMk/>
            <pc:sldMasterMk cId="1230176099" sldId="2147483922"/>
            <pc:sldLayoutMk cId="3312097832" sldId="2147483967"/>
          </pc:sldLayoutMkLst>
        </pc:sldLayoutChg>
        <pc:sldLayoutChg chg="del">
          <pc:chgData name="Baruah, Meghna" userId="ec4d5429-f521-47c5-a69d-ddef68e95d51" providerId="ADAL" clId="{56877017-4A01-E447-8CFA-30504A35B299}" dt="2022-01-03T09:21:03.643" v="48" actId="2696"/>
          <pc:sldLayoutMkLst>
            <pc:docMk/>
            <pc:sldMasterMk cId="1230176099" sldId="2147483922"/>
            <pc:sldLayoutMk cId="1069670668" sldId="2147483968"/>
          </pc:sldLayoutMkLst>
        </pc:sldLayoutChg>
        <pc:sldLayoutChg chg="del">
          <pc:chgData name="Baruah, Meghna" userId="ec4d5429-f521-47c5-a69d-ddef68e95d51" providerId="ADAL" clId="{56877017-4A01-E447-8CFA-30504A35B299}" dt="2022-01-03T09:21:06.103" v="49" actId="2696"/>
          <pc:sldLayoutMkLst>
            <pc:docMk/>
            <pc:sldMasterMk cId="1230176099" sldId="2147483922"/>
            <pc:sldLayoutMk cId="734720128" sldId="2147483969"/>
          </pc:sldLayoutMkLst>
        </pc:sldLayoutChg>
        <pc:sldLayoutChg chg="del">
          <pc:chgData name="Baruah, Meghna" userId="ec4d5429-f521-47c5-a69d-ddef68e95d51" providerId="ADAL" clId="{56877017-4A01-E447-8CFA-30504A35B299}" dt="2022-01-03T09:23:17.908" v="70" actId="2696"/>
          <pc:sldLayoutMkLst>
            <pc:docMk/>
            <pc:sldMasterMk cId="1230176099" sldId="2147483922"/>
            <pc:sldLayoutMk cId="1836758203" sldId="2147483970"/>
          </pc:sldLayoutMkLst>
        </pc:sldLayoutChg>
        <pc:sldLayoutChg chg="del">
          <pc:chgData name="Baruah, Meghna" userId="ec4d5429-f521-47c5-a69d-ddef68e95d51" providerId="ADAL" clId="{56877017-4A01-E447-8CFA-30504A35B299}" dt="2022-01-03T09:23:20.408" v="71" actId="2696"/>
          <pc:sldLayoutMkLst>
            <pc:docMk/>
            <pc:sldMasterMk cId="1230176099" sldId="2147483922"/>
            <pc:sldLayoutMk cId="352121630" sldId="2147483971"/>
          </pc:sldLayoutMkLst>
        </pc:sldLayoutChg>
        <pc:sldLayoutChg chg="del">
          <pc:chgData name="Baruah, Meghna" userId="ec4d5429-f521-47c5-a69d-ddef68e95d51" providerId="ADAL" clId="{56877017-4A01-E447-8CFA-30504A35B299}" dt="2022-01-03T09:23:28.732" v="73" actId="2696"/>
          <pc:sldLayoutMkLst>
            <pc:docMk/>
            <pc:sldMasterMk cId="1230176099" sldId="2147483922"/>
            <pc:sldLayoutMk cId="3724708733" sldId="2147483972"/>
          </pc:sldLayoutMkLst>
        </pc:sldLayoutChg>
        <pc:sldLayoutChg chg="del">
          <pc:chgData name="Baruah, Meghna" userId="ec4d5429-f521-47c5-a69d-ddef68e95d51" providerId="ADAL" clId="{56877017-4A01-E447-8CFA-30504A35B299}" dt="2022-01-03T09:23:31.472" v="74" actId="2696"/>
          <pc:sldLayoutMkLst>
            <pc:docMk/>
            <pc:sldMasterMk cId="1230176099" sldId="2147483922"/>
            <pc:sldLayoutMk cId="3291531352" sldId="2147483974"/>
          </pc:sldLayoutMkLst>
        </pc:sldLayoutChg>
        <pc:sldLayoutChg chg="del">
          <pc:chgData name="Baruah, Meghna" userId="ec4d5429-f521-47c5-a69d-ddef68e95d51" providerId="ADAL" clId="{56877017-4A01-E447-8CFA-30504A35B299}" dt="2022-01-03T09:23:34.221" v="75" actId="2696"/>
          <pc:sldLayoutMkLst>
            <pc:docMk/>
            <pc:sldMasterMk cId="1230176099" sldId="2147483922"/>
            <pc:sldLayoutMk cId="3512377394" sldId="2147483975"/>
          </pc:sldLayoutMkLst>
        </pc:sldLayoutChg>
        <pc:sldLayoutChg chg="del">
          <pc:chgData name="Baruah, Meghna" userId="ec4d5429-f521-47c5-a69d-ddef68e95d51" providerId="ADAL" clId="{56877017-4A01-E447-8CFA-30504A35B299}" dt="2022-01-03T09:23:36.890" v="76" actId="2696"/>
          <pc:sldLayoutMkLst>
            <pc:docMk/>
            <pc:sldMasterMk cId="1230176099" sldId="2147483922"/>
            <pc:sldLayoutMk cId="3332006697" sldId="2147483976"/>
          </pc:sldLayoutMkLst>
        </pc:sldLayoutChg>
        <pc:sldLayoutChg chg="del">
          <pc:chgData name="Baruah, Meghna" userId="ec4d5429-f521-47c5-a69d-ddef68e95d51" providerId="ADAL" clId="{56877017-4A01-E447-8CFA-30504A35B299}" dt="2022-01-03T09:25:08.183" v="91" actId="2696"/>
          <pc:sldLayoutMkLst>
            <pc:docMk/>
            <pc:sldMasterMk cId="1230176099" sldId="2147483922"/>
            <pc:sldLayoutMk cId="2646330475" sldId="2147483977"/>
          </pc:sldLayoutMkLst>
        </pc:sldLayoutChg>
        <pc:sldLayoutChg chg="del">
          <pc:chgData name="Baruah, Meghna" userId="ec4d5429-f521-47c5-a69d-ddef68e95d51" providerId="ADAL" clId="{56877017-4A01-E447-8CFA-30504A35B299}" dt="2022-01-03T09:25:10.467" v="92" actId="2696"/>
          <pc:sldLayoutMkLst>
            <pc:docMk/>
            <pc:sldMasterMk cId="1230176099" sldId="2147483922"/>
            <pc:sldLayoutMk cId="367305107" sldId="2147483978"/>
          </pc:sldLayoutMkLst>
        </pc:sldLayoutChg>
        <pc:sldLayoutChg chg="del">
          <pc:chgData name="Baruah, Meghna" userId="ec4d5429-f521-47c5-a69d-ddef68e95d51" providerId="ADAL" clId="{56877017-4A01-E447-8CFA-30504A35B299}" dt="2022-01-03T09:25:12.750" v="93" actId="2696"/>
          <pc:sldLayoutMkLst>
            <pc:docMk/>
            <pc:sldMasterMk cId="1230176099" sldId="2147483922"/>
            <pc:sldLayoutMk cId="795166115" sldId="2147483979"/>
          </pc:sldLayoutMkLst>
        </pc:sldLayoutChg>
        <pc:sldLayoutChg chg="del">
          <pc:chgData name="Baruah, Meghna" userId="ec4d5429-f521-47c5-a69d-ddef68e95d51" providerId="ADAL" clId="{56877017-4A01-E447-8CFA-30504A35B299}" dt="2022-01-03T09:25:15.243" v="94" actId="2696"/>
          <pc:sldLayoutMkLst>
            <pc:docMk/>
            <pc:sldMasterMk cId="1230176099" sldId="2147483922"/>
            <pc:sldLayoutMk cId="2908457221" sldId="2147483980"/>
          </pc:sldLayoutMkLst>
        </pc:sldLayoutChg>
        <pc:sldLayoutChg chg="del">
          <pc:chgData name="Baruah, Meghna" userId="ec4d5429-f521-47c5-a69d-ddef68e95d51" providerId="ADAL" clId="{56877017-4A01-E447-8CFA-30504A35B299}" dt="2022-01-03T09:25:17.575" v="95" actId="2696"/>
          <pc:sldLayoutMkLst>
            <pc:docMk/>
            <pc:sldMasterMk cId="1230176099" sldId="2147483922"/>
            <pc:sldLayoutMk cId="1307641730" sldId="2147483981"/>
          </pc:sldLayoutMkLst>
        </pc:sldLayoutChg>
        <pc:sldLayoutChg chg="del">
          <pc:chgData name="Baruah, Meghna" userId="ec4d5429-f521-47c5-a69d-ddef68e95d51" providerId="ADAL" clId="{56877017-4A01-E447-8CFA-30504A35B299}" dt="2022-01-03T09:25:20.484" v="96" actId="2696"/>
          <pc:sldLayoutMkLst>
            <pc:docMk/>
            <pc:sldMasterMk cId="1230176099" sldId="2147483922"/>
            <pc:sldLayoutMk cId="3315089090" sldId="2147483982"/>
          </pc:sldLayoutMkLst>
        </pc:sldLayoutChg>
        <pc:sldLayoutChg chg="modSp mod ord">
          <pc:chgData name="Baruah, Meghna" userId="ec4d5429-f521-47c5-a69d-ddef68e95d51" providerId="ADAL" clId="{56877017-4A01-E447-8CFA-30504A35B299}" dt="2022-01-03T09:25:40.371" v="100" actId="12789"/>
          <pc:sldLayoutMkLst>
            <pc:docMk/>
            <pc:sldMasterMk cId="1230176099" sldId="2147483922"/>
            <pc:sldLayoutMk cId="3049384338" sldId="2147483983"/>
          </pc:sldLayoutMkLst>
          <pc:spChg chg="mod">
            <ac:chgData name="Baruah, Meghna" userId="ec4d5429-f521-47c5-a69d-ddef68e95d51" providerId="ADAL" clId="{56877017-4A01-E447-8CFA-30504A35B299}" dt="2022-01-03T09:25:40.371" v="100" actId="12789"/>
            <ac:spMkLst>
              <pc:docMk/>
              <pc:sldMasterMk cId="1230176099" sldId="2147483922"/>
              <pc:sldLayoutMk cId="3049384338" sldId="2147483983"/>
              <ac:spMk id="21" creationId="{C08C26FA-6586-4E60-AEF8-93911D8083B0}"/>
            </ac:spMkLst>
          </pc:spChg>
          <pc:cxnChg chg="mod">
            <ac:chgData name="Baruah, Meghna" userId="ec4d5429-f521-47c5-a69d-ddef68e95d51" providerId="ADAL" clId="{56877017-4A01-E447-8CFA-30504A35B299}" dt="2022-01-03T09:25:40.371" v="100" actId="12789"/>
            <ac:cxnSpMkLst>
              <pc:docMk/>
              <pc:sldMasterMk cId="1230176099" sldId="2147483922"/>
              <pc:sldLayoutMk cId="3049384338" sldId="2147483983"/>
              <ac:cxnSpMk id="20" creationId="{E331BF9A-6AEF-4875-B88A-FDA594427433}"/>
            </ac:cxnSpMkLst>
          </pc:cxnChg>
        </pc:sldLayoutChg>
        <pc:sldLayoutChg chg="del">
          <pc:chgData name="Baruah, Meghna" userId="ec4d5429-f521-47c5-a69d-ddef68e95d51" providerId="ADAL" clId="{56877017-4A01-E447-8CFA-30504A35B299}" dt="2022-01-03T09:25:25.651" v="97" actId="2696"/>
          <pc:sldLayoutMkLst>
            <pc:docMk/>
            <pc:sldMasterMk cId="1230176099" sldId="2147483922"/>
            <pc:sldLayoutMk cId="2340991423" sldId="2147483985"/>
          </pc:sldLayoutMkLst>
        </pc:sldLayoutChg>
        <pc:sldLayoutChg chg="del">
          <pc:chgData name="Baruah, Meghna" userId="ec4d5429-f521-47c5-a69d-ddef68e95d51" providerId="ADAL" clId="{56877017-4A01-E447-8CFA-30504A35B299}" dt="2022-01-03T09:26:33.701" v="112" actId="2696"/>
          <pc:sldLayoutMkLst>
            <pc:docMk/>
            <pc:sldMasterMk cId="1230176099" sldId="2147483922"/>
            <pc:sldLayoutMk cId="1466495423" sldId="2147483986"/>
          </pc:sldLayoutMkLst>
        </pc:sldLayoutChg>
        <pc:sldLayoutChg chg="del">
          <pc:chgData name="Baruah, Meghna" userId="ec4d5429-f521-47c5-a69d-ddef68e95d51" providerId="ADAL" clId="{56877017-4A01-E447-8CFA-30504A35B299}" dt="2022-01-03T09:26:36.428" v="113" actId="2696"/>
          <pc:sldLayoutMkLst>
            <pc:docMk/>
            <pc:sldMasterMk cId="1230176099" sldId="2147483922"/>
            <pc:sldLayoutMk cId="2750084390" sldId="2147483987"/>
          </pc:sldLayoutMkLst>
        </pc:sldLayoutChg>
        <pc:sldLayoutChg chg="del">
          <pc:chgData name="Baruah, Meghna" userId="ec4d5429-f521-47c5-a69d-ddef68e95d51" providerId="ADAL" clId="{56877017-4A01-E447-8CFA-30504A35B299}" dt="2022-01-03T09:26:39.151" v="114" actId="2696"/>
          <pc:sldLayoutMkLst>
            <pc:docMk/>
            <pc:sldMasterMk cId="1230176099" sldId="2147483922"/>
            <pc:sldLayoutMk cId="22037389" sldId="2147483988"/>
          </pc:sldLayoutMkLst>
        </pc:sldLayoutChg>
        <pc:sldLayoutChg chg="del">
          <pc:chgData name="Baruah, Meghna" userId="ec4d5429-f521-47c5-a69d-ddef68e95d51" providerId="ADAL" clId="{56877017-4A01-E447-8CFA-30504A35B299}" dt="2022-01-03T09:18:44.502" v="11" actId="2696"/>
          <pc:sldLayoutMkLst>
            <pc:docMk/>
            <pc:sldMasterMk cId="1230176099" sldId="2147483922"/>
            <pc:sldLayoutMk cId="3035391450" sldId="2147483989"/>
          </pc:sldLayoutMkLst>
        </pc:sldLayoutChg>
        <pc:sldLayoutChg chg="del">
          <pc:chgData name="Baruah, Meghna" userId="ec4d5429-f521-47c5-a69d-ddef68e95d51" providerId="ADAL" clId="{56877017-4A01-E447-8CFA-30504A35B299}" dt="2022-01-03T09:21:08.603" v="50" actId="2696"/>
          <pc:sldLayoutMkLst>
            <pc:docMk/>
            <pc:sldMasterMk cId="1230176099" sldId="2147483922"/>
            <pc:sldLayoutMk cId="1643918155" sldId="2147483990"/>
          </pc:sldLayoutMkLst>
        </pc:sldLayoutChg>
        <pc:sldLayoutChg chg="modSp mod ord">
          <pc:chgData name="Baruah, Meghna" userId="ec4d5429-f521-47c5-a69d-ddef68e95d51" providerId="ADAL" clId="{56877017-4A01-E447-8CFA-30504A35B299}" dt="2022-01-03T09:24:00.123" v="79" actId="12789"/>
          <pc:sldLayoutMkLst>
            <pc:docMk/>
            <pc:sldMasterMk cId="1230176099" sldId="2147483922"/>
            <pc:sldLayoutMk cId="2965961923" sldId="2147483991"/>
          </pc:sldLayoutMkLst>
          <pc:spChg chg="mod">
            <ac:chgData name="Baruah, Meghna" userId="ec4d5429-f521-47c5-a69d-ddef68e95d51" providerId="ADAL" clId="{56877017-4A01-E447-8CFA-30504A35B299}" dt="2022-01-03T09:24:00.123" v="79" actId="12789"/>
            <ac:spMkLst>
              <pc:docMk/>
              <pc:sldMasterMk cId="1230176099" sldId="2147483922"/>
              <pc:sldLayoutMk cId="2965961923" sldId="2147483991"/>
              <ac:spMk id="25" creationId="{4B6C577C-CA22-4B4B-ABDA-051D932F4B6F}"/>
            </ac:spMkLst>
          </pc:spChg>
          <pc:cxnChg chg="mod">
            <ac:chgData name="Baruah, Meghna" userId="ec4d5429-f521-47c5-a69d-ddef68e95d51" providerId="ADAL" clId="{56877017-4A01-E447-8CFA-30504A35B299}" dt="2022-01-03T09:24:00.123" v="79" actId="12789"/>
            <ac:cxnSpMkLst>
              <pc:docMk/>
              <pc:sldMasterMk cId="1230176099" sldId="2147483922"/>
              <pc:sldLayoutMk cId="2965961923" sldId="2147483991"/>
              <ac:cxnSpMk id="27" creationId="{375B320D-A557-439D-8ED3-1B1A45A286C1}"/>
            </ac:cxnSpMkLst>
          </pc:cxnChg>
        </pc:sldLayoutChg>
        <pc:sldLayoutChg chg="del">
          <pc:chgData name="Baruah, Meghna" userId="ec4d5429-f521-47c5-a69d-ddef68e95d51" providerId="ADAL" clId="{56877017-4A01-E447-8CFA-30504A35B299}" dt="2022-01-03T09:23:25.700" v="72" actId="2696"/>
          <pc:sldLayoutMkLst>
            <pc:docMk/>
            <pc:sldMasterMk cId="1230176099" sldId="2147483922"/>
            <pc:sldLayoutMk cId="2036163482" sldId="2147483992"/>
          </pc:sldLayoutMkLst>
        </pc:sldLayoutChg>
        <pc:sldLayoutChg chg="del">
          <pc:chgData name="Baruah, Meghna" userId="ec4d5429-f521-47c5-a69d-ddef68e95d51" providerId="ADAL" clId="{56877017-4A01-E447-8CFA-30504A35B299}" dt="2022-01-03T09:26:41.822" v="115" actId="2696"/>
          <pc:sldLayoutMkLst>
            <pc:docMk/>
            <pc:sldMasterMk cId="1230176099" sldId="2147483922"/>
            <pc:sldLayoutMk cId="4219413735" sldId="2147483993"/>
          </pc:sldLayoutMkLst>
        </pc:sldLayoutChg>
        <pc:sldLayoutChg chg="del">
          <pc:chgData name="Baruah, Meghna" userId="ec4d5429-f521-47c5-a69d-ddef68e95d51" providerId="ADAL" clId="{56877017-4A01-E447-8CFA-30504A35B299}" dt="2022-01-03T09:26:44.611" v="116" actId="2696"/>
          <pc:sldLayoutMkLst>
            <pc:docMk/>
            <pc:sldMasterMk cId="1230176099" sldId="2147483922"/>
            <pc:sldLayoutMk cId="2580670503" sldId="2147483994"/>
          </pc:sldLayoutMkLst>
        </pc:sldLayoutChg>
        <pc:sldLayoutChg chg="del">
          <pc:chgData name="Baruah, Meghna" userId="ec4d5429-f521-47c5-a69d-ddef68e95d51" providerId="ADAL" clId="{56877017-4A01-E447-8CFA-30504A35B299}" dt="2022-01-03T09:26:46.990" v="117" actId="2696"/>
          <pc:sldLayoutMkLst>
            <pc:docMk/>
            <pc:sldMasterMk cId="1230176099" sldId="2147483922"/>
            <pc:sldLayoutMk cId="3255236110" sldId="2147483995"/>
          </pc:sldLayoutMkLst>
        </pc:sldLayoutChg>
        <pc:sldLayoutChg chg="del">
          <pc:chgData name="Baruah, Meghna" userId="ec4d5429-f521-47c5-a69d-ddef68e95d51" providerId="ADAL" clId="{56877017-4A01-E447-8CFA-30504A35B299}" dt="2022-01-03T09:26:49.723" v="118" actId="2696"/>
          <pc:sldLayoutMkLst>
            <pc:docMk/>
            <pc:sldMasterMk cId="1230176099" sldId="2147483922"/>
            <pc:sldLayoutMk cId="932912348" sldId="2147483996"/>
          </pc:sldLayoutMkLst>
        </pc:sldLayoutChg>
        <pc:sldLayoutChg chg="del">
          <pc:chgData name="Baruah, Meghna" userId="ec4d5429-f521-47c5-a69d-ddef68e95d51" providerId="ADAL" clId="{56877017-4A01-E447-8CFA-30504A35B299}" dt="2022-01-03T09:26:52.337" v="119" actId="2696"/>
          <pc:sldLayoutMkLst>
            <pc:docMk/>
            <pc:sldMasterMk cId="1230176099" sldId="2147483922"/>
            <pc:sldLayoutMk cId="1751198441" sldId="2147483997"/>
          </pc:sldLayoutMkLst>
        </pc:sldLayoutChg>
        <pc:sldLayoutChg chg="del">
          <pc:chgData name="Baruah, Meghna" userId="ec4d5429-f521-47c5-a69d-ddef68e95d51" providerId="ADAL" clId="{56877017-4A01-E447-8CFA-30504A35B299}" dt="2022-01-03T09:26:54.765" v="120" actId="2696"/>
          <pc:sldLayoutMkLst>
            <pc:docMk/>
            <pc:sldMasterMk cId="1230176099" sldId="2147483922"/>
            <pc:sldLayoutMk cId="2336567220" sldId="2147483998"/>
          </pc:sldLayoutMkLst>
        </pc:sldLayoutChg>
        <pc:sldLayoutChg chg="del">
          <pc:chgData name="Baruah, Meghna" userId="ec4d5429-f521-47c5-a69d-ddef68e95d51" providerId="ADAL" clId="{56877017-4A01-E447-8CFA-30504A35B299}" dt="2022-01-03T09:18:38.714" v="0" actId="2696"/>
          <pc:sldLayoutMkLst>
            <pc:docMk/>
            <pc:sldMasterMk cId="1230176099" sldId="2147483922"/>
            <pc:sldLayoutMk cId="477973162" sldId="2147484011"/>
          </pc:sldLayoutMkLst>
        </pc:sldLayoutChg>
        <pc:sldLayoutChg chg="del">
          <pc:chgData name="Baruah, Meghna" userId="ec4d5429-f521-47c5-a69d-ddef68e95d51" providerId="ADAL" clId="{56877017-4A01-E447-8CFA-30504A35B299}" dt="2022-01-03T09:18:38.731" v="1" actId="2696"/>
          <pc:sldLayoutMkLst>
            <pc:docMk/>
            <pc:sldMasterMk cId="1230176099" sldId="2147483922"/>
            <pc:sldLayoutMk cId="1318403073" sldId="2147484012"/>
          </pc:sldLayoutMkLst>
        </pc:sldLayoutChg>
        <pc:sldLayoutChg chg="del">
          <pc:chgData name="Baruah, Meghna" userId="ec4d5429-f521-47c5-a69d-ddef68e95d51" providerId="ADAL" clId="{56877017-4A01-E447-8CFA-30504A35B299}" dt="2022-01-03T09:18:38.740" v="2" actId="2696"/>
          <pc:sldLayoutMkLst>
            <pc:docMk/>
            <pc:sldMasterMk cId="1230176099" sldId="2147483922"/>
            <pc:sldLayoutMk cId="893835129" sldId="2147484013"/>
          </pc:sldLayoutMkLst>
        </pc:sldLayoutChg>
        <pc:sldLayoutChg chg="del">
          <pc:chgData name="Baruah, Meghna" userId="ec4d5429-f521-47c5-a69d-ddef68e95d51" providerId="ADAL" clId="{56877017-4A01-E447-8CFA-30504A35B299}" dt="2022-01-03T09:18:38.770" v="10" actId="2696"/>
          <pc:sldLayoutMkLst>
            <pc:docMk/>
            <pc:sldMasterMk cId="1230176099" sldId="2147483922"/>
            <pc:sldLayoutMk cId="2271011507" sldId="2147484014"/>
          </pc:sldLayoutMkLst>
        </pc:sldLayoutChg>
        <pc:sldLayoutChg chg="del">
          <pc:chgData name="Baruah, Meghna" userId="ec4d5429-f521-47c5-a69d-ddef68e95d51" providerId="ADAL" clId="{56877017-4A01-E447-8CFA-30504A35B299}" dt="2022-01-03T09:18:38.762" v="3" actId="2696"/>
          <pc:sldLayoutMkLst>
            <pc:docMk/>
            <pc:sldMasterMk cId="1230176099" sldId="2147483922"/>
            <pc:sldLayoutMk cId="1501984561" sldId="2147484015"/>
          </pc:sldLayoutMkLst>
        </pc:sldLayoutChg>
        <pc:sldLayoutChg chg="del">
          <pc:chgData name="Baruah, Meghna" userId="ec4d5429-f521-47c5-a69d-ddef68e95d51" providerId="ADAL" clId="{56877017-4A01-E447-8CFA-30504A35B299}" dt="2022-01-03T09:18:38.766" v="6" actId="2696"/>
          <pc:sldLayoutMkLst>
            <pc:docMk/>
            <pc:sldMasterMk cId="1230176099" sldId="2147483922"/>
            <pc:sldLayoutMk cId="3685962920" sldId="2147484016"/>
          </pc:sldLayoutMkLst>
        </pc:sldLayoutChg>
        <pc:sldLayoutChg chg="del">
          <pc:chgData name="Baruah, Meghna" userId="ec4d5429-f521-47c5-a69d-ddef68e95d51" providerId="ADAL" clId="{56877017-4A01-E447-8CFA-30504A35B299}" dt="2022-01-03T09:18:38.768" v="8" actId="2696"/>
          <pc:sldLayoutMkLst>
            <pc:docMk/>
            <pc:sldMasterMk cId="1230176099" sldId="2147483922"/>
            <pc:sldLayoutMk cId="3611041310" sldId="2147484017"/>
          </pc:sldLayoutMkLst>
        </pc:sldLayoutChg>
        <pc:sldLayoutChg chg="del">
          <pc:chgData name="Baruah, Meghna" userId="ec4d5429-f521-47c5-a69d-ddef68e95d51" providerId="ADAL" clId="{56877017-4A01-E447-8CFA-30504A35B299}" dt="2022-01-03T09:18:38.765" v="5" actId="2696"/>
          <pc:sldLayoutMkLst>
            <pc:docMk/>
            <pc:sldMasterMk cId="1230176099" sldId="2147483922"/>
            <pc:sldLayoutMk cId="601971321" sldId="2147484018"/>
          </pc:sldLayoutMkLst>
        </pc:sldLayoutChg>
        <pc:sldLayoutChg chg="del">
          <pc:chgData name="Baruah, Meghna" userId="ec4d5429-f521-47c5-a69d-ddef68e95d51" providerId="ADAL" clId="{56877017-4A01-E447-8CFA-30504A35B299}" dt="2022-01-03T09:18:38.767" v="7" actId="2696"/>
          <pc:sldLayoutMkLst>
            <pc:docMk/>
            <pc:sldMasterMk cId="1230176099" sldId="2147483922"/>
            <pc:sldLayoutMk cId="3952269459" sldId="2147484019"/>
          </pc:sldLayoutMkLst>
        </pc:sldLayoutChg>
        <pc:sldLayoutChg chg="del">
          <pc:chgData name="Baruah, Meghna" userId="ec4d5429-f521-47c5-a69d-ddef68e95d51" providerId="ADAL" clId="{56877017-4A01-E447-8CFA-30504A35B299}" dt="2022-01-03T09:18:38.769" v="9" actId="2696"/>
          <pc:sldLayoutMkLst>
            <pc:docMk/>
            <pc:sldMasterMk cId="1230176099" sldId="2147483922"/>
            <pc:sldLayoutMk cId="1018330653" sldId="2147484020"/>
          </pc:sldLayoutMkLst>
        </pc:sldLayoutChg>
        <pc:sldLayoutChg chg="del">
          <pc:chgData name="Baruah, Meghna" userId="ec4d5429-f521-47c5-a69d-ddef68e95d51" providerId="ADAL" clId="{56877017-4A01-E447-8CFA-30504A35B299}" dt="2022-01-03T09:18:38.763" v="4" actId="2696"/>
          <pc:sldLayoutMkLst>
            <pc:docMk/>
            <pc:sldMasterMk cId="1230176099" sldId="2147483922"/>
            <pc:sldLayoutMk cId="3586247913" sldId="2147484021"/>
          </pc:sldLayoutMkLst>
        </pc:sldLayoutChg>
        <pc:sldLayoutChg chg="modSp mod">
          <pc:chgData name="Baruah, Meghna" userId="ec4d5429-f521-47c5-a69d-ddef68e95d51" providerId="ADAL" clId="{56877017-4A01-E447-8CFA-30504A35B299}" dt="2022-01-03T09:22:01.278" v="55" actId="12789"/>
          <pc:sldLayoutMkLst>
            <pc:docMk/>
            <pc:sldMasterMk cId="1230176099" sldId="2147483922"/>
            <pc:sldLayoutMk cId="2078384963" sldId="2147484022"/>
          </pc:sldLayoutMkLst>
          <pc:spChg chg="mod">
            <ac:chgData name="Baruah, Meghna" userId="ec4d5429-f521-47c5-a69d-ddef68e95d51" providerId="ADAL" clId="{56877017-4A01-E447-8CFA-30504A35B299}" dt="2022-01-03T09:22:01.278" v="55" actId="12789"/>
            <ac:spMkLst>
              <pc:docMk/>
              <pc:sldMasterMk cId="1230176099" sldId="2147483922"/>
              <pc:sldLayoutMk cId="2078384963" sldId="2147484022"/>
              <ac:spMk id="25" creationId="{56C5912D-9A65-403A-AA6C-9169C63BE07A}"/>
            </ac:spMkLst>
          </pc:spChg>
          <pc:cxnChg chg="mod">
            <ac:chgData name="Baruah, Meghna" userId="ec4d5429-f521-47c5-a69d-ddef68e95d51" providerId="ADAL" clId="{56877017-4A01-E447-8CFA-30504A35B299}" dt="2022-01-03T09:22:01.278" v="55" actId="12789"/>
            <ac:cxnSpMkLst>
              <pc:docMk/>
              <pc:sldMasterMk cId="1230176099" sldId="2147483922"/>
              <pc:sldLayoutMk cId="2078384963" sldId="2147484022"/>
              <ac:cxnSpMk id="24" creationId="{2D917297-8327-4F52-B194-452707571342}"/>
            </ac:cxnSpMkLst>
          </pc:cxnChg>
        </pc:sldLayoutChg>
        <pc:sldLayoutChg chg="del">
          <pc:chgData name="Baruah, Meghna" userId="ec4d5429-f521-47c5-a69d-ddef68e95d51" providerId="ADAL" clId="{56877017-4A01-E447-8CFA-30504A35B299}" dt="2022-01-03T09:19:55.623" v="34" actId="2696"/>
          <pc:sldLayoutMkLst>
            <pc:docMk/>
            <pc:sldMasterMk cId="1230176099" sldId="2147483922"/>
            <pc:sldLayoutMk cId="214083917" sldId="2147484023"/>
          </pc:sldLayoutMkLst>
        </pc:sldLayoutChg>
        <pc:sldLayoutChg chg="add del">
          <pc:chgData name="Baruah, Meghna" userId="ec4d5429-f521-47c5-a69d-ddef68e95d51" providerId="ADAL" clId="{56877017-4A01-E447-8CFA-30504A35B299}" dt="2022-01-03T09:19:40.245" v="33" actId="2696"/>
          <pc:sldLayoutMkLst>
            <pc:docMk/>
            <pc:sldMasterMk cId="1230176099" sldId="2147483922"/>
            <pc:sldLayoutMk cId="1915467649" sldId="2147484023"/>
          </pc:sldLayoutMkLst>
        </pc:sldLayoutChg>
        <pc:sldLayoutChg chg="del">
          <pc:chgData name="Baruah, Meghna" userId="ec4d5429-f521-47c5-a69d-ddef68e95d51" providerId="ADAL" clId="{56877017-4A01-E447-8CFA-30504A35B299}" dt="2022-01-03T09:19:55.640" v="37" actId="2696"/>
          <pc:sldLayoutMkLst>
            <pc:docMk/>
            <pc:sldMasterMk cId="1230176099" sldId="2147483922"/>
            <pc:sldLayoutMk cId="382363226" sldId="2147484024"/>
          </pc:sldLayoutMkLst>
        </pc:sldLayoutChg>
        <pc:sldLayoutChg chg="add del">
          <pc:chgData name="Baruah, Meghna" userId="ec4d5429-f521-47c5-a69d-ddef68e95d51" providerId="ADAL" clId="{56877017-4A01-E447-8CFA-30504A35B299}" dt="2022-01-03T09:19:40.237" v="24" actId="2696"/>
          <pc:sldLayoutMkLst>
            <pc:docMk/>
            <pc:sldMasterMk cId="1230176099" sldId="2147483922"/>
            <pc:sldLayoutMk cId="2717068413" sldId="2147484024"/>
          </pc:sldLayoutMkLst>
        </pc:sldLayoutChg>
        <pc:sldLayoutChg chg="del">
          <pc:chgData name="Baruah, Meghna" userId="ec4d5429-f521-47c5-a69d-ddef68e95d51" providerId="ADAL" clId="{56877017-4A01-E447-8CFA-30504A35B299}" dt="2022-01-03T09:19:55.639" v="36" actId="2696"/>
          <pc:sldLayoutMkLst>
            <pc:docMk/>
            <pc:sldMasterMk cId="1230176099" sldId="2147483922"/>
            <pc:sldLayoutMk cId="3727725878" sldId="2147484025"/>
          </pc:sldLayoutMkLst>
        </pc:sldLayoutChg>
        <pc:sldLayoutChg chg="add del">
          <pc:chgData name="Baruah, Meghna" userId="ec4d5429-f521-47c5-a69d-ddef68e95d51" providerId="ADAL" clId="{56877017-4A01-E447-8CFA-30504A35B299}" dt="2022-01-03T09:19:40.243" v="31" actId="2696"/>
          <pc:sldLayoutMkLst>
            <pc:docMk/>
            <pc:sldMasterMk cId="1230176099" sldId="2147483922"/>
            <pc:sldLayoutMk cId="3857134832" sldId="2147484025"/>
          </pc:sldLayoutMkLst>
        </pc:sldLayoutChg>
        <pc:sldLayoutChg chg="add del">
          <pc:chgData name="Baruah, Meghna" userId="ec4d5429-f521-47c5-a69d-ddef68e95d51" providerId="ADAL" clId="{56877017-4A01-E447-8CFA-30504A35B299}" dt="2022-01-03T09:19:40.235" v="23" actId="2696"/>
          <pc:sldLayoutMkLst>
            <pc:docMk/>
            <pc:sldMasterMk cId="1230176099" sldId="2147483922"/>
            <pc:sldLayoutMk cId="1235704192" sldId="2147484026"/>
          </pc:sldLayoutMkLst>
        </pc:sldLayoutChg>
        <pc:sldLayoutChg chg="del">
          <pc:chgData name="Baruah, Meghna" userId="ec4d5429-f521-47c5-a69d-ddef68e95d51" providerId="ADAL" clId="{56877017-4A01-E447-8CFA-30504A35B299}" dt="2022-01-03T09:19:55.661" v="40" actId="2696"/>
          <pc:sldLayoutMkLst>
            <pc:docMk/>
            <pc:sldMasterMk cId="1230176099" sldId="2147483922"/>
            <pc:sldLayoutMk cId="4067058834" sldId="2147484026"/>
          </pc:sldLayoutMkLst>
        </pc:sldLayoutChg>
        <pc:sldLayoutChg chg="add del">
          <pc:chgData name="Baruah, Meghna" userId="ec4d5429-f521-47c5-a69d-ddef68e95d51" providerId="ADAL" clId="{56877017-4A01-E447-8CFA-30504A35B299}" dt="2022-01-03T09:19:40.239" v="26" actId="2696"/>
          <pc:sldLayoutMkLst>
            <pc:docMk/>
            <pc:sldMasterMk cId="1230176099" sldId="2147483922"/>
            <pc:sldLayoutMk cId="2681679612" sldId="2147484027"/>
          </pc:sldLayoutMkLst>
        </pc:sldLayoutChg>
        <pc:sldLayoutChg chg="del">
          <pc:chgData name="Baruah, Meghna" userId="ec4d5429-f521-47c5-a69d-ddef68e95d51" providerId="ADAL" clId="{56877017-4A01-E447-8CFA-30504A35B299}" dt="2022-01-03T09:19:55.679" v="42" actId="2696"/>
          <pc:sldLayoutMkLst>
            <pc:docMk/>
            <pc:sldMasterMk cId="1230176099" sldId="2147483922"/>
            <pc:sldLayoutMk cId="3468537588" sldId="2147484027"/>
          </pc:sldLayoutMkLst>
        </pc:sldLayoutChg>
        <pc:sldLayoutChg chg="add del">
          <pc:chgData name="Baruah, Meghna" userId="ec4d5429-f521-47c5-a69d-ddef68e95d51" providerId="ADAL" clId="{56877017-4A01-E447-8CFA-30504A35B299}" dt="2022-01-03T09:19:40.244" v="32" actId="2696"/>
          <pc:sldLayoutMkLst>
            <pc:docMk/>
            <pc:sldMasterMk cId="1230176099" sldId="2147483922"/>
            <pc:sldLayoutMk cId="2992364233" sldId="2147484028"/>
          </pc:sldLayoutMkLst>
        </pc:sldLayoutChg>
        <pc:sldLayoutChg chg="del">
          <pc:chgData name="Baruah, Meghna" userId="ec4d5429-f521-47c5-a69d-ddef68e95d51" providerId="ADAL" clId="{56877017-4A01-E447-8CFA-30504A35B299}" dt="2022-01-03T09:19:55.638" v="35" actId="2696"/>
          <pc:sldLayoutMkLst>
            <pc:docMk/>
            <pc:sldMasterMk cId="1230176099" sldId="2147483922"/>
            <pc:sldLayoutMk cId="3395044174" sldId="2147484028"/>
          </pc:sldLayoutMkLst>
        </pc:sldLayoutChg>
        <pc:sldLayoutChg chg="del">
          <pc:chgData name="Baruah, Meghna" userId="ec4d5429-f521-47c5-a69d-ddef68e95d51" providerId="ADAL" clId="{56877017-4A01-E447-8CFA-30504A35B299}" dt="2022-01-03T09:19:55.678" v="41" actId="2696"/>
          <pc:sldLayoutMkLst>
            <pc:docMk/>
            <pc:sldMasterMk cId="1230176099" sldId="2147483922"/>
            <pc:sldLayoutMk cId="2108880369" sldId="2147484029"/>
          </pc:sldLayoutMkLst>
        </pc:sldLayoutChg>
        <pc:sldLayoutChg chg="add del">
          <pc:chgData name="Baruah, Meghna" userId="ec4d5429-f521-47c5-a69d-ddef68e95d51" providerId="ADAL" clId="{56877017-4A01-E447-8CFA-30504A35B299}" dt="2022-01-03T09:19:40.240" v="28" actId="2696"/>
          <pc:sldLayoutMkLst>
            <pc:docMk/>
            <pc:sldMasterMk cId="1230176099" sldId="2147483922"/>
            <pc:sldLayoutMk cId="4156478424" sldId="2147484029"/>
          </pc:sldLayoutMkLst>
        </pc:sldLayoutChg>
        <pc:sldLayoutChg chg="add del">
          <pc:chgData name="Baruah, Meghna" userId="ec4d5429-f521-47c5-a69d-ddef68e95d51" providerId="ADAL" clId="{56877017-4A01-E447-8CFA-30504A35B299}" dt="2022-01-03T09:19:40.240" v="27" actId="2696"/>
          <pc:sldLayoutMkLst>
            <pc:docMk/>
            <pc:sldMasterMk cId="1230176099" sldId="2147483922"/>
            <pc:sldLayoutMk cId="4201852999" sldId="2147484030"/>
          </pc:sldLayoutMkLst>
        </pc:sldLayoutChg>
        <pc:sldLayoutChg chg="del">
          <pc:chgData name="Baruah, Meghna" userId="ec4d5429-f521-47c5-a69d-ddef68e95d51" providerId="ADAL" clId="{56877017-4A01-E447-8CFA-30504A35B299}" dt="2022-01-03T09:19:55.691" v="43" actId="2696"/>
          <pc:sldLayoutMkLst>
            <pc:docMk/>
            <pc:sldMasterMk cId="1230176099" sldId="2147483922"/>
            <pc:sldLayoutMk cId="4290228135" sldId="2147484030"/>
          </pc:sldLayoutMkLst>
        </pc:sldLayoutChg>
        <pc:sldLayoutChg chg="add del">
          <pc:chgData name="Baruah, Meghna" userId="ec4d5429-f521-47c5-a69d-ddef68e95d51" providerId="ADAL" clId="{56877017-4A01-E447-8CFA-30504A35B299}" dt="2022-01-03T09:19:40.238" v="25" actId="2696"/>
          <pc:sldLayoutMkLst>
            <pc:docMk/>
            <pc:sldMasterMk cId="1230176099" sldId="2147483922"/>
            <pc:sldLayoutMk cId="850812325" sldId="2147484031"/>
          </pc:sldLayoutMkLst>
        </pc:sldLayoutChg>
        <pc:sldLayoutChg chg="del">
          <pc:chgData name="Baruah, Meghna" userId="ec4d5429-f521-47c5-a69d-ddef68e95d51" providerId="ADAL" clId="{56877017-4A01-E447-8CFA-30504A35B299}" dt="2022-01-03T09:19:55.659" v="38" actId="2696"/>
          <pc:sldLayoutMkLst>
            <pc:docMk/>
            <pc:sldMasterMk cId="1230176099" sldId="2147483922"/>
            <pc:sldLayoutMk cId="4020158672" sldId="2147484031"/>
          </pc:sldLayoutMkLst>
        </pc:sldLayoutChg>
        <pc:sldLayoutChg chg="add del">
          <pc:chgData name="Baruah, Meghna" userId="ec4d5429-f521-47c5-a69d-ddef68e95d51" providerId="ADAL" clId="{56877017-4A01-E447-8CFA-30504A35B299}" dt="2022-01-03T09:19:40.242" v="30" actId="2696"/>
          <pc:sldLayoutMkLst>
            <pc:docMk/>
            <pc:sldMasterMk cId="1230176099" sldId="2147483922"/>
            <pc:sldLayoutMk cId="32716511" sldId="2147484032"/>
          </pc:sldLayoutMkLst>
        </pc:sldLayoutChg>
        <pc:sldLayoutChg chg="del">
          <pc:chgData name="Baruah, Meghna" userId="ec4d5429-f521-47c5-a69d-ddef68e95d51" providerId="ADAL" clId="{56877017-4A01-E447-8CFA-30504A35B299}" dt="2022-01-03T09:19:55.660" v="39" actId="2696"/>
          <pc:sldLayoutMkLst>
            <pc:docMk/>
            <pc:sldMasterMk cId="1230176099" sldId="2147483922"/>
            <pc:sldLayoutMk cId="3160911324" sldId="2147484032"/>
          </pc:sldLayoutMkLst>
        </pc:sldLayoutChg>
        <pc:sldLayoutChg chg="add del">
          <pc:chgData name="Baruah, Meghna" userId="ec4d5429-f521-47c5-a69d-ddef68e95d51" providerId="ADAL" clId="{56877017-4A01-E447-8CFA-30504A35B299}" dt="2022-01-03T09:19:40.241" v="29" actId="2696"/>
          <pc:sldLayoutMkLst>
            <pc:docMk/>
            <pc:sldMasterMk cId="1230176099" sldId="2147483922"/>
            <pc:sldLayoutMk cId="1167595911" sldId="2147484033"/>
          </pc:sldLayoutMkLst>
        </pc:sldLayoutChg>
        <pc:sldLayoutChg chg="del">
          <pc:chgData name="Baruah, Meghna" userId="ec4d5429-f521-47c5-a69d-ddef68e95d51" providerId="ADAL" clId="{56877017-4A01-E447-8CFA-30504A35B299}" dt="2022-01-03T09:19:55.702" v="44" actId="2696"/>
          <pc:sldLayoutMkLst>
            <pc:docMk/>
            <pc:sldMasterMk cId="1230176099" sldId="2147483922"/>
            <pc:sldLayoutMk cId="2253098663" sldId="2147484033"/>
          </pc:sldLayoutMkLst>
        </pc:sldLayoutChg>
        <pc:sldLayoutChg chg="del">
          <pc:chgData name="Baruah, Meghna" userId="ec4d5429-f521-47c5-a69d-ddef68e95d51" providerId="ADAL" clId="{56877017-4A01-E447-8CFA-30504A35B299}" dt="2022-01-03T09:21:28.474" v="51" actId="2696"/>
          <pc:sldLayoutMkLst>
            <pc:docMk/>
            <pc:sldMasterMk cId="1230176099" sldId="2147483922"/>
            <pc:sldLayoutMk cId="3545721295" sldId="2147484034"/>
          </pc:sldLayoutMkLst>
        </pc:sldLayoutChg>
        <pc:sldLayoutChg chg="del">
          <pc:chgData name="Baruah, Meghna" userId="ec4d5429-f521-47c5-a69d-ddef68e95d51" providerId="ADAL" clId="{56877017-4A01-E447-8CFA-30504A35B299}" dt="2022-01-03T09:21:30.991" v="52" actId="2696"/>
          <pc:sldLayoutMkLst>
            <pc:docMk/>
            <pc:sldMasterMk cId="1230176099" sldId="2147483922"/>
            <pc:sldLayoutMk cId="2424909026" sldId="2147484035"/>
          </pc:sldLayoutMkLst>
        </pc:sldLayoutChg>
        <pc:sldLayoutChg chg="modSp mod">
          <pc:chgData name="Baruah, Meghna" userId="ec4d5429-f521-47c5-a69d-ddef68e95d51" providerId="ADAL" clId="{56877017-4A01-E447-8CFA-30504A35B299}" dt="2022-01-03T09:22:28.209" v="58" actId="12789"/>
          <pc:sldLayoutMkLst>
            <pc:docMk/>
            <pc:sldMasterMk cId="1230176099" sldId="2147483922"/>
            <pc:sldLayoutMk cId="3875830055" sldId="2147484036"/>
          </pc:sldLayoutMkLst>
          <pc:spChg chg="mod">
            <ac:chgData name="Baruah, Meghna" userId="ec4d5429-f521-47c5-a69d-ddef68e95d51" providerId="ADAL" clId="{56877017-4A01-E447-8CFA-30504A35B299}" dt="2022-01-03T09:22:28.209" v="58" actId="12789"/>
            <ac:spMkLst>
              <pc:docMk/>
              <pc:sldMasterMk cId="1230176099" sldId="2147483922"/>
              <pc:sldLayoutMk cId="3875830055" sldId="2147484036"/>
              <ac:spMk id="17" creationId="{BC2BDD8B-8A9E-46A1-B22D-FF5F9A600E0C}"/>
            </ac:spMkLst>
          </pc:spChg>
          <pc:cxnChg chg="mod">
            <ac:chgData name="Baruah, Meghna" userId="ec4d5429-f521-47c5-a69d-ddef68e95d51" providerId="ADAL" clId="{56877017-4A01-E447-8CFA-30504A35B299}" dt="2022-01-03T09:22:28.209" v="58" actId="12789"/>
            <ac:cxnSpMkLst>
              <pc:docMk/>
              <pc:sldMasterMk cId="1230176099" sldId="2147483922"/>
              <pc:sldLayoutMk cId="3875830055" sldId="2147484036"/>
              <ac:cxnSpMk id="16" creationId="{4BF4E3E8-0911-426E-BE91-D7AAEC01CCA1}"/>
            </ac:cxnSpMkLst>
          </pc:cxnChg>
        </pc:sldLayoutChg>
        <pc:sldLayoutChg chg="del">
          <pc:chgData name="Baruah, Meghna" userId="ec4d5429-f521-47c5-a69d-ddef68e95d51" providerId="ADAL" clId="{56877017-4A01-E447-8CFA-30504A35B299}" dt="2022-01-03T09:23:10.472" v="59" actId="2696"/>
          <pc:sldLayoutMkLst>
            <pc:docMk/>
            <pc:sldMasterMk cId="1230176099" sldId="2147483922"/>
            <pc:sldLayoutMk cId="1725474706" sldId="2147484042"/>
          </pc:sldLayoutMkLst>
        </pc:sldLayoutChg>
        <pc:sldLayoutChg chg="del">
          <pc:chgData name="Baruah, Meghna" userId="ec4d5429-f521-47c5-a69d-ddef68e95d51" providerId="ADAL" clId="{56877017-4A01-E447-8CFA-30504A35B299}" dt="2022-01-03T09:23:10.489" v="60" actId="2696"/>
          <pc:sldLayoutMkLst>
            <pc:docMk/>
            <pc:sldMasterMk cId="1230176099" sldId="2147483922"/>
            <pc:sldLayoutMk cId="136726611" sldId="2147484043"/>
          </pc:sldLayoutMkLst>
        </pc:sldLayoutChg>
        <pc:sldLayoutChg chg="del">
          <pc:chgData name="Baruah, Meghna" userId="ec4d5429-f521-47c5-a69d-ddef68e95d51" providerId="ADAL" clId="{56877017-4A01-E447-8CFA-30504A35B299}" dt="2022-01-03T09:23:10.504" v="65" actId="2696"/>
          <pc:sldLayoutMkLst>
            <pc:docMk/>
            <pc:sldMasterMk cId="1230176099" sldId="2147483922"/>
            <pc:sldLayoutMk cId="3176176841" sldId="2147484044"/>
          </pc:sldLayoutMkLst>
        </pc:sldLayoutChg>
        <pc:sldLayoutChg chg="del">
          <pc:chgData name="Baruah, Meghna" userId="ec4d5429-f521-47c5-a69d-ddef68e95d51" providerId="ADAL" clId="{56877017-4A01-E447-8CFA-30504A35B299}" dt="2022-01-03T09:23:10.501" v="63" actId="2696"/>
          <pc:sldLayoutMkLst>
            <pc:docMk/>
            <pc:sldMasterMk cId="1230176099" sldId="2147483922"/>
            <pc:sldLayoutMk cId="1761833395" sldId="2147484045"/>
          </pc:sldLayoutMkLst>
        </pc:sldLayoutChg>
        <pc:sldLayoutChg chg="del">
          <pc:chgData name="Baruah, Meghna" userId="ec4d5429-f521-47c5-a69d-ddef68e95d51" providerId="ADAL" clId="{56877017-4A01-E447-8CFA-30504A35B299}" dt="2022-01-03T09:23:10.528" v="69" actId="2696"/>
          <pc:sldLayoutMkLst>
            <pc:docMk/>
            <pc:sldMasterMk cId="1230176099" sldId="2147483922"/>
            <pc:sldLayoutMk cId="896547971" sldId="2147484046"/>
          </pc:sldLayoutMkLst>
        </pc:sldLayoutChg>
        <pc:sldLayoutChg chg="del">
          <pc:chgData name="Baruah, Meghna" userId="ec4d5429-f521-47c5-a69d-ddef68e95d51" providerId="ADAL" clId="{56877017-4A01-E447-8CFA-30504A35B299}" dt="2022-01-03T09:23:10.500" v="62" actId="2696"/>
          <pc:sldLayoutMkLst>
            <pc:docMk/>
            <pc:sldMasterMk cId="1230176099" sldId="2147483922"/>
            <pc:sldLayoutMk cId="3521232006" sldId="2147484047"/>
          </pc:sldLayoutMkLst>
        </pc:sldLayoutChg>
        <pc:sldLayoutChg chg="del">
          <pc:chgData name="Baruah, Meghna" userId="ec4d5429-f521-47c5-a69d-ddef68e95d51" providerId="ADAL" clId="{56877017-4A01-E447-8CFA-30504A35B299}" dt="2022-01-03T09:23:10.502" v="64" actId="2696"/>
          <pc:sldLayoutMkLst>
            <pc:docMk/>
            <pc:sldMasterMk cId="1230176099" sldId="2147483922"/>
            <pc:sldLayoutMk cId="3786648071" sldId="2147484048"/>
          </pc:sldLayoutMkLst>
        </pc:sldLayoutChg>
        <pc:sldLayoutChg chg="del">
          <pc:chgData name="Baruah, Meghna" userId="ec4d5429-f521-47c5-a69d-ddef68e95d51" providerId="ADAL" clId="{56877017-4A01-E447-8CFA-30504A35B299}" dt="2022-01-03T09:23:10.499" v="61" actId="2696"/>
          <pc:sldLayoutMkLst>
            <pc:docMk/>
            <pc:sldMasterMk cId="1230176099" sldId="2147483922"/>
            <pc:sldLayoutMk cId="1221319811" sldId="2147484049"/>
          </pc:sldLayoutMkLst>
        </pc:sldLayoutChg>
        <pc:sldLayoutChg chg="del">
          <pc:chgData name="Baruah, Meghna" userId="ec4d5429-f521-47c5-a69d-ddef68e95d51" providerId="ADAL" clId="{56877017-4A01-E447-8CFA-30504A35B299}" dt="2022-01-03T09:23:10.524" v="66" actId="2696"/>
          <pc:sldLayoutMkLst>
            <pc:docMk/>
            <pc:sldMasterMk cId="1230176099" sldId="2147483922"/>
            <pc:sldLayoutMk cId="3714867960" sldId="2147484050"/>
          </pc:sldLayoutMkLst>
        </pc:sldLayoutChg>
        <pc:sldLayoutChg chg="del">
          <pc:chgData name="Baruah, Meghna" userId="ec4d5429-f521-47c5-a69d-ddef68e95d51" providerId="ADAL" clId="{56877017-4A01-E447-8CFA-30504A35B299}" dt="2022-01-03T09:23:10.525" v="67" actId="2696"/>
          <pc:sldLayoutMkLst>
            <pc:docMk/>
            <pc:sldMasterMk cId="1230176099" sldId="2147483922"/>
            <pc:sldLayoutMk cId="2344150605" sldId="2147484051"/>
          </pc:sldLayoutMkLst>
        </pc:sldLayoutChg>
        <pc:sldLayoutChg chg="del">
          <pc:chgData name="Baruah, Meghna" userId="ec4d5429-f521-47c5-a69d-ddef68e95d51" providerId="ADAL" clId="{56877017-4A01-E447-8CFA-30504A35B299}" dt="2022-01-03T09:23:10.526" v="68" actId="2696"/>
          <pc:sldLayoutMkLst>
            <pc:docMk/>
            <pc:sldMasterMk cId="1230176099" sldId="2147483922"/>
            <pc:sldLayoutMk cId="9648976" sldId="2147484052"/>
          </pc:sldLayoutMkLst>
        </pc:sldLayoutChg>
        <pc:sldLayoutChg chg="del">
          <pc:chgData name="Baruah, Meghna" userId="ec4d5429-f521-47c5-a69d-ddef68e95d51" providerId="ADAL" clId="{56877017-4A01-E447-8CFA-30504A35B299}" dt="2022-01-03T09:23:51.178" v="77" actId="2696"/>
          <pc:sldLayoutMkLst>
            <pc:docMk/>
            <pc:sldMasterMk cId="1230176099" sldId="2147483922"/>
            <pc:sldLayoutMk cId="2648089402" sldId="2147484055"/>
          </pc:sldLayoutMkLst>
        </pc:sldLayoutChg>
        <pc:sldLayoutChg chg="del">
          <pc:chgData name="Baruah, Meghna" userId="ec4d5429-f521-47c5-a69d-ddef68e95d51" providerId="ADAL" clId="{56877017-4A01-E447-8CFA-30504A35B299}" dt="2022-01-03T09:24:59.589" v="80" actId="2696"/>
          <pc:sldLayoutMkLst>
            <pc:docMk/>
            <pc:sldMasterMk cId="1230176099" sldId="2147483922"/>
            <pc:sldLayoutMk cId="2836910202" sldId="2147484061"/>
          </pc:sldLayoutMkLst>
        </pc:sldLayoutChg>
        <pc:sldLayoutChg chg="del">
          <pc:chgData name="Baruah, Meghna" userId="ec4d5429-f521-47c5-a69d-ddef68e95d51" providerId="ADAL" clId="{56877017-4A01-E447-8CFA-30504A35B299}" dt="2022-01-03T09:24:59.609" v="83" actId="2696"/>
          <pc:sldLayoutMkLst>
            <pc:docMk/>
            <pc:sldMasterMk cId="1230176099" sldId="2147483922"/>
            <pc:sldLayoutMk cId="3107667090" sldId="2147484062"/>
          </pc:sldLayoutMkLst>
        </pc:sldLayoutChg>
        <pc:sldLayoutChg chg="del">
          <pc:chgData name="Baruah, Meghna" userId="ec4d5429-f521-47c5-a69d-ddef68e95d51" providerId="ADAL" clId="{56877017-4A01-E447-8CFA-30504A35B299}" dt="2022-01-03T09:24:59.608" v="82" actId="2696"/>
          <pc:sldLayoutMkLst>
            <pc:docMk/>
            <pc:sldMasterMk cId="1230176099" sldId="2147483922"/>
            <pc:sldLayoutMk cId="1286425646" sldId="2147484063"/>
          </pc:sldLayoutMkLst>
        </pc:sldLayoutChg>
        <pc:sldLayoutChg chg="del">
          <pc:chgData name="Baruah, Meghna" userId="ec4d5429-f521-47c5-a69d-ddef68e95d51" providerId="ADAL" clId="{56877017-4A01-E447-8CFA-30504A35B299}" dt="2022-01-03T09:24:59.631" v="84" actId="2696"/>
          <pc:sldLayoutMkLst>
            <pc:docMk/>
            <pc:sldMasterMk cId="1230176099" sldId="2147483922"/>
            <pc:sldLayoutMk cId="801795907" sldId="2147484064"/>
          </pc:sldLayoutMkLst>
        </pc:sldLayoutChg>
        <pc:sldLayoutChg chg="del">
          <pc:chgData name="Baruah, Meghna" userId="ec4d5429-f521-47c5-a69d-ddef68e95d51" providerId="ADAL" clId="{56877017-4A01-E447-8CFA-30504A35B299}" dt="2022-01-03T09:24:59.656" v="89" actId="2696"/>
          <pc:sldLayoutMkLst>
            <pc:docMk/>
            <pc:sldMasterMk cId="1230176099" sldId="2147483922"/>
            <pc:sldLayoutMk cId="2105279007" sldId="2147484065"/>
          </pc:sldLayoutMkLst>
        </pc:sldLayoutChg>
        <pc:sldLayoutChg chg="del">
          <pc:chgData name="Baruah, Meghna" userId="ec4d5429-f521-47c5-a69d-ddef68e95d51" providerId="ADAL" clId="{56877017-4A01-E447-8CFA-30504A35B299}" dt="2022-01-03T09:24:59.652" v="86" actId="2696"/>
          <pc:sldLayoutMkLst>
            <pc:docMk/>
            <pc:sldMasterMk cId="1230176099" sldId="2147483922"/>
            <pc:sldLayoutMk cId="4113592291" sldId="2147484066"/>
          </pc:sldLayoutMkLst>
        </pc:sldLayoutChg>
        <pc:sldLayoutChg chg="del">
          <pc:chgData name="Baruah, Meghna" userId="ec4d5429-f521-47c5-a69d-ddef68e95d51" providerId="ADAL" clId="{56877017-4A01-E447-8CFA-30504A35B299}" dt="2022-01-03T09:24:59.653" v="87" actId="2696"/>
          <pc:sldLayoutMkLst>
            <pc:docMk/>
            <pc:sldMasterMk cId="1230176099" sldId="2147483922"/>
            <pc:sldLayoutMk cId="2557958733" sldId="2147484067"/>
          </pc:sldLayoutMkLst>
        </pc:sldLayoutChg>
        <pc:sldLayoutChg chg="del">
          <pc:chgData name="Baruah, Meghna" userId="ec4d5429-f521-47c5-a69d-ddef68e95d51" providerId="ADAL" clId="{56877017-4A01-E447-8CFA-30504A35B299}" dt="2022-01-03T09:24:59.669" v="90" actId="2696"/>
          <pc:sldLayoutMkLst>
            <pc:docMk/>
            <pc:sldMasterMk cId="1230176099" sldId="2147483922"/>
            <pc:sldLayoutMk cId="2233866029" sldId="2147484068"/>
          </pc:sldLayoutMkLst>
        </pc:sldLayoutChg>
        <pc:sldLayoutChg chg="del">
          <pc:chgData name="Baruah, Meghna" userId="ec4d5429-f521-47c5-a69d-ddef68e95d51" providerId="ADAL" clId="{56877017-4A01-E447-8CFA-30504A35B299}" dt="2022-01-03T09:24:59.606" v="81" actId="2696"/>
          <pc:sldLayoutMkLst>
            <pc:docMk/>
            <pc:sldMasterMk cId="1230176099" sldId="2147483922"/>
            <pc:sldLayoutMk cId="1983627265" sldId="2147484069"/>
          </pc:sldLayoutMkLst>
        </pc:sldLayoutChg>
        <pc:sldLayoutChg chg="del">
          <pc:chgData name="Baruah, Meghna" userId="ec4d5429-f521-47c5-a69d-ddef68e95d51" providerId="ADAL" clId="{56877017-4A01-E447-8CFA-30504A35B299}" dt="2022-01-03T09:24:59.655" v="88" actId="2696"/>
          <pc:sldLayoutMkLst>
            <pc:docMk/>
            <pc:sldMasterMk cId="1230176099" sldId="2147483922"/>
            <pc:sldLayoutMk cId="1781847622" sldId="2147484070"/>
          </pc:sldLayoutMkLst>
        </pc:sldLayoutChg>
        <pc:sldLayoutChg chg="del">
          <pc:chgData name="Baruah, Meghna" userId="ec4d5429-f521-47c5-a69d-ddef68e95d51" providerId="ADAL" clId="{56877017-4A01-E447-8CFA-30504A35B299}" dt="2022-01-03T09:24:59.651" v="85" actId="2696"/>
          <pc:sldLayoutMkLst>
            <pc:docMk/>
            <pc:sldMasterMk cId="1230176099" sldId="2147483922"/>
            <pc:sldLayoutMk cId="1648335737" sldId="2147484071"/>
          </pc:sldLayoutMkLst>
        </pc:sldLayoutChg>
        <pc:sldLayoutChg chg="del">
          <pc:chgData name="Baruah, Meghna" userId="ec4d5429-f521-47c5-a69d-ddef68e95d51" providerId="ADAL" clId="{56877017-4A01-E447-8CFA-30504A35B299}" dt="2022-01-03T09:25:33.641" v="99" actId="2696"/>
          <pc:sldLayoutMkLst>
            <pc:docMk/>
            <pc:sldMasterMk cId="1230176099" sldId="2147483922"/>
            <pc:sldLayoutMk cId="3075740852" sldId="2147484078"/>
          </pc:sldLayoutMkLst>
        </pc:sldLayoutChg>
        <pc:sldLayoutChg chg="del">
          <pc:chgData name="Baruah, Meghna" userId="ec4d5429-f521-47c5-a69d-ddef68e95d51" providerId="ADAL" clId="{56877017-4A01-E447-8CFA-30504A35B299}" dt="2022-01-03T09:26:23.870" v="101" actId="2696"/>
          <pc:sldLayoutMkLst>
            <pc:docMk/>
            <pc:sldMasterMk cId="1230176099" sldId="2147483922"/>
            <pc:sldLayoutMk cId="1511673024" sldId="2147484080"/>
          </pc:sldLayoutMkLst>
        </pc:sldLayoutChg>
        <pc:sldLayoutChg chg="del">
          <pc:chgData name="Baruah, Meghna" userId="ec4d5429-f521-47c5-a69d-ddef68e95d51" providerId="ADAL" clId="{56877017-4A01-E447-8CFA-30504A35B299}" dt="2022-01-03T09:26:23.886" v="103" actId="2696"/>
          <pc:sldLayoutMkLst>
            <pc:docMk/>
            <pc:sldMasterMk cId="1230176099" sldId="2147483922"/>
            <pc:sldLayoutMk cId="1656170936" sldId="2147484081"/>
          </pc:sldLayoutMkLst>
        </pc:sldLayoutChg>
        <pc:sldLayoutChg chg="del">
          <pc:chgData name="Baruah, Meghna" userId="ec4d5429-f521-47c5-a69d-ddef68e95d51" providerId="ADAL" clId="{56877017-4A01-E447-8CFA-30504A35B299}" dt="2022-01-03T09:26:23.897" v="106" actId="2696"/>
          <pc:sldLayoutMkLst>
            <pc:docMk/>
            <pc:sldMasterMk cId="1230176099" sldId="2147483922"/>
            <pc:sldLayoutMk cId="28462220" sldId="2147484082"/>
          </pc:sldLayoutMkLst>
        </pc:sldLayoutChg>
        <pc:sldLayoutChg chg="del">
          <pc:chgData name="Baruah, Meghna" userId="ec4d5429-f521-47c5-a69d-ddef68e95d51" providerId="ADAL" clId="{56877017-4A01-E447-8CFA-30504A35B299}" dt="2022-01-03T09:26:23.916" v="107" actId="2696"/>
          <pc:sldLayoutMkLst>
            <pc:docMk/>
            <pc:sldMasterMk cId="1230176099" sldId="2147483922"/>
            <pc:sldLayoutMk cId="3277000020" sldId="2147484083"/>
          </pc:sldLayoutMkLst>
        </pc:sldLayoutChg>
        <pc:sldLayoutChg chg="del">
          <pc:chgData name="Baruah, Meghna" userId="ec4d5429-f521-47c5-a69d-ddef68e95d51" providerId="ADAL" clId="{56877017-4A01-E447-8CFA-30504A35B299}" dt="2022-01-03T09:26:23.885" v="102" actId="2696"/>
          <pc:sldLayoutMkLst>
            <pc:docMk/>
            <pc:sldMasterMk cId="1230176099" sldId="2147483922"/>
            <pc:sldLayoutMk cId="1110216782" sldId="2147484084"/>
          </pc:sldLayoutMkLst>
        </pc:sldLayoutChg>
        <pc:sldLayoutChg chg="del">
          <pc:chgData name="Baruah, Meghna" userId="ec4d5429-f521-47c5-a69d-ddef68e95d51" providerId="ADAL" clId="{56877017-4A01-E447-8CFA-30504A35B299}" dt="2022-01-03T09:26:23.896" v="105" actId="2696"/>
          <pc:sldLayoutMkLst>
            <pc:docMk/>
            <pc:sldMasterMk cId="1230176099" sldId="2147483922"/>
            <pc:sldLayoutMk cId="325134994" sldId="2147484085"/>
          </pc:sldLayoutMkLst>
        </pc:sldLayoutChg>
        <pc:sldLayoutChg chg="del">
          <pc:chgData name="Baruah, Meghna" userId="ec4d5429-f521-47c5-a69d-ddef68e95d51" providerId="ADAL" clId="{56877017-4A01-E447-8CFA-30504A35B299}" dt="2022-01-03T09:26:23.922" v="108" actId="2696"/>
          <pc:sldLayoutMkLst>
            <pc:docMk/>
            <pc:sldMasterMk cId="1230176099" sldId="2147483922"/>
            <pc:sldLayoutMk cId="4009255187" sldId="2147484086"/>
          </pc:sldLayoutMkLst>
        </pc:sldLayoutChg>
        <pc:sldLayoutChg chg="del">
          <pc:chgData name="Baruah, Meghna" userId="ec4d5429-f521-47c5-a69d-ddef68e95d51" providerId="ADAL" clId="{56877017-4A01-E447-8CFA-30504A35B299}" dt="2022-01-03T09:26:23.935" v="110" actId="2696"/>
          <pc:sldLayoutMkLst>
            <pc:docMk/>
            <pc:sldMasterMk cId="1230176099" sldId="2147483922"/>
            <pc:sldLayoutMk cId="3883253678" sldId="2147484087"/>
          </pc:sldLayoutMkLst>
        </pc:sldLayoutChg>
        <pc:sldLayoutChg chg="del">
          <pc:chgData name="Baruah, Meghna" userId="ec4d5429-f521-47c5-a69d-ddef68e95d51" providerId="ADAL" clId="{56877017-4A01-E447-8CFA-30504A35B299}" dt="2022-01-03T09:26:23.943" v="111" actId="2696"/>
          <pc:sldLayoutMkLst>
            <pc:docMk/>
            <pc:sldMasterMk cId="1230176099" sldId="2147483922"/>
            <pc:sldLayoutMk cId="4187548292" sldId="2147484088"/>
          </pc:sldLayoutMkLst>
        </pc:sldLayoutChg>
        <pc:sldLayoutChg chg="del">
          <pc:chgData name="Baruah, Meghna" userId="ec4d5429-f521-47c5-a69d-ddef68e95d51" providerId="ADAL" clId="{56877017-4A01-E447-8CFA-30504A35B299}" dt="2022-01-03T09:26:23.895" v="104" actId="2696"/>
          <pc:sldLayoutMkLst>
            <pc:docMk/>
            <pc:sldMasterMk cId="1230176099" sldId="2147483922"/>
            <pc:sldLayoutMk cId="1347066313" sldId="2147484089"/>
          </pc:sldLayoutMkLst>
        </pc:sldLayoutChg>
        <pc:sldLayoutChg chg="del">
          <pc:chgData name="Baruah, Meghna" userId="ec4d5429-f521-47c5-a69d-ddef68e95d51" providerId="ADAL" clId="{56877017-4A01-E447-8CFA-30504A35B299}" dt="2022-01-03T09:26:23.934" v="109" actId="2696"/>
          <pc:sldLayoutMkLst>
            <pc:docMk/>
            <pc:sldMasterMk cId="1230176099" sldId="2147483922"/>
            <pc:sldLayoutMk cId="3038136678" sldId="2147484090"/>
          </pc:sldLayoutMkLst>
        </pc:sldLayoutChg>
      </pc:sldMasterChg>
    </pc:docChg>
  </pc:docChgLst>
  <pc:docChgLst>
    <pc:chgData name="Ojas Rajpal" userId="51f5808b-b899-4853-a9c1-d0f056bcd62b" providerId="ADAL" clId="{6D74ED87-DB79-4CAF-BA45-025B60DFCFBD}"/>
    <pc:docChg chg="undo custSel addSld delSld modSld sldOrd modMainMaster">
      <pc:chgData name="Ojas Rajpal" userId="51f5808b-b899-4853-a9c1-d0f056bcd62b" providerId="ADAL" clId="{6D74ED87-DB79-4CAF-BA45-025B60DFCFBD}" dt="2022-03-30T08:44:43.873" v="3383" actId="255"/>
      <pc:docMkLst>
        <pc:docMk/>
      </pc:docMkLst>
      <pc:sldChg chg="del">
        <pc:chgData name="Ojas Rajpal" userId="51f5808b-b899-4853-a9c1-d0f056bcd62b" providerId="ADAL" clId="{6D74ED87-DB79-4CAF-BA45-025B60DFCFBD}" dt="2022-03-30T06:39:50.561" v="39" actId="47"/>
        <pc:sldMkLst>
          <pc:docMk/>
          <pc:sldMk cId="1436013182" sldId="2299"/>
        </pc:sldMkLst>
      </pc:sldChg>
      <pc:sldChg chg="del">
        <pc:chgData name="Ojas Rajpal" userId="51f5808b-b899-4853-a9c1-d0f056bcd62b" providerId="ADAL" clId="{6D74ED87-DB79-4CAF-BA45-025B60DFCFBD}" dt="2022-03-30T06:44:33.645" v="52" actId="2696"/>
        <pc:sldMkLst>
          <pc:docMk/>
          <pc:sldMk cId="0" sldId="2511"/>
        </pc:sldMkLst>
      </pc:sldChg>
      <pc:sldChg chg="del">
        <pc:chgData name="Ojas Rajpal" userId="51f5808b-b899-4853-a9c1-d0f056bcd62b" providerId="ADAL" clId="{6D74ED87-DB79-4CAF-BA45-025B60DFCFBD}" dt="2022-03-30T06:46:40.183" v="54" actId="2696"/>
        <pc:sldMkLst>
          <pc:docMk/>
          <pc:sldMk cId="1141233094" sldId="2524"/>
        </pc:sldMkLst>
      </pc:sldChg>
      <pc:sldChg chg="del">
        <pc:chgData name="Ojas Rajpal" userId="51f5808b-b899-4853-a9c1-d0f056bcd62b" providerId="ADAL" clId="{6D74ED87-DB79-4CAF-BA45-025B60DFCFBD}" dt="2022-03-30T07:59:09.224" v="810" actId="2696"/>
        <pc:sldMkLst>
          <pc:docMk/>
          <pc:sldMk cId="1648547252" sldId="2549"/>
        </pc:sldMkLst>
      </pc:sldChg>
      <pc:sldChg chg="del">
        <pc:chgData name="Ojas Rajpal" userId="51f5808b-b899-4853-a9c1-d0f056bcd62b" providerId="ADAL" clId="{6D74ED87-DB79-4CAF-BA45-025B60DFCFBD}" dt="2022-03-30T08:04:32.176" v="811" actId="2696"/>
        <pc:sldMkLst>
          <pc:docMk/>
          <pc:sldMk cId="1570553839" sldId="2552"/>
        </pc:sldMkLst>
      </pc:sldChg>
      <pc:sldChg chg="del">
        <pc:chgData name="Ojas Rajpal" userId="51f5808b-b899-4853-a9c1-d0f056bcd62b" providerId="ADAL" clId="{6D74ED87-DB79-4CAF-BA45-025B60DFCFBD}" dt="2022-03-30T07:50:20.582" v="760" actId="2696"/>
        <pc:sldMkLst>
          <pc:docMk/>
          <pc:sldMk cId="1840078534" sldId="2553"/>
        </pc:sldMkLst>
      </pc:sldChg>
      <pc:sldChg chg="add">
        <pc:chgData name="Ojas Rajpal" userId="51f5808b-b899-4853-a9c1-d0f056bcd62b" providerId="ADAL" clId="{6D74ED87-DB79-4CAF-BA45-025B60DFCFBD}" dt="2022-03-30T06:46:21.007" v="53"/>
        <pc:sldMkLst>
          <pc:docMk/>
          <pc:sldMk cId="745050943" sldId="2554"/>
        </pc:sldMkLst>
      </pc:sldChg>
      <pc:sldChg chg="del">
        <pc:chgData name="Ojas Rajpal" userId="51f5808b-b899-4853-a9c1-d0f056bcd62b" providerId="ADAL" clId="{6D74ED87-DB79-4CAF-BA45-025B60DFCFBD}" dt="2022-03-30T06:39:50.561" v="39" actId="47"/>
        <pc:sldMkLst>
          <pc:docMk/>
          <pc:sldMk cId="2982312614" sldId="2556"/>
        </pc:sldMkLst>
      </pc:sldChg>
      <pc:sldChg chg="del">
        <pc:chgData name="Ojas Rajpal" userId="51f5808b-b899-4853-a9c1-d0f056bcd62b" providerId="ADAL" clId="{6D74ED87-DB79-4CAF-BA45-025B60DFCFBD}" dt="2022-03-30T06:39:50.561" v="39" actId="47"/>
        <pc:sldMkLst>
          <pc:docMk/>
          <pc:sldMk cId="1179925496" sldId="2557"/>
        </pc:sldMkLst>
      </pc:sldChg>
      <pc:sldChg chg="del">
        <pc:chgData name="Ojas Rajpal" userId="51f5808b-b899-4853-a9c1-d0f056bcd62b" providerId="ADAL" clId="{6D74ED87-DB79-4CAF-BA45-025B60DFCFBD}" dt="2022-03-30T06:39:50.561" v="39" actId="47"/>
        <pc:sldMkLst>
          <pc:docMk/>
          <pc:sldMk cId="201228547" sldId="2559"/>
        </pc:sldMkLst>
      </pc:sldChg>
      <pc:sldChg chg="modSp add mod delCm">
        <pc:chgData name="Ojas Rajpal" userId="51f5808b-b899-4853-a9c1-d0f056bcd62b" providerId="ADAL" clId="{6D74ED87-DB79-4CAF-BA45-025B60DFCFBD}" dt="2022-03-30T06:39:34.078" v="38"/>
        <pc:sldMkLst>
          <pc:docMk/>
          <pc:sldMk cId="2619318644" sldId="2672"/>
        </pc:sldMkLst>
        <pc:spChg chg="mod">
          <ac:chgData name="Ojas Rajpal" userId="51f5808b-b899-4853-a9c1-d0f056bcd62b" providerId="ADAL" clId="{6D74ED87-DB79-4CAF-BA45-025B60DFCFBD}" dt="2022-03-30T06:39:34.078" v="38"/>
          <ac:spMkLst>
            <pc:docMk/>
            <pc:sldMk cId="2619318644" sldId="2672"/>
            <ac:spMk id="7" creationId="{3E3BD459-7B3B-4D2B-A12D-894EC17587D6}"/>
          </ac:spMkLst>
        </pc:spChg>
      </pc:sldChg>
      <pc:sldChg chg="del">
        <pc:chgData name="Ojas Rajpal" userId="51f5808b-b899-4853-a9c1-d0f056bcd62b" providerId="ADAL" clId="{6D74ED87-DB79-4CAF-BA45-025B60DFCFBD}" dt="2022-03-30T06:47:49.054" v="56" actId="2696"/>
        <pc:sldMkLst>
          <pc:docMk/>
          <pc:sldMk cId="166467652" sldId="3217"/>
        </pc:sldMkLst>
      </pc:sldChg>
      <pc:sldChg chg="modSp add mod">
        <pc:chgData name="Ojas Rajpal" userId="51f5808b-b899-4853-a9c1-d0f056bcd62b" providerId="ADAL" clId="{6D74ED87-DB79-4CAF-BA45-025B60DFCFBD}" dt="2022-03-30T08:44:19.873" v="3382" actId="2"/>
        <pc:sldMkLst>
          <pc:docMk/>
          <pc:sldMk cId="2590640620" sldId="3232"/>
        </pc:sldMkLst>
        <pc:graphicFrameChg chg="modGraphic">
          <ac:chgData name="Ojas Rajpal" userId="51f5808b-b899-4853-a9c1-d0f056bcd62b" providerId="ADAL" clId="{6D74ED87-DB79-4CAF-BA45-025B60DFCFBD}" dt="2022-03-30T08:44:19.873" v="3382" actId="2"/>
          <ac:graphicFrameMkLst>
            <pc:docMk/>
            <pc:sldMk cId="2590640620" sldId="3232"/>
            <ac:graphicFrameMk id="42" creationId="{E1D9B941-4BB2-6A41-A4E8-F1393FB9BEAD}"/>
          </ac:graphicFrameMkLst>
        </pc:graphicFrameChg>
      </pc:sldChg>
      <pc:sldChg chg="del">
        <pc:chgData name="Ojas Rajpal" userId="51f5808b-b899-4853-a9c1-d0f056bcd62b" providerId="ADAL" clId="{6D74ED87-DB79-4CAF-BA45-025B60DFCFBD}" dt="2022-03-30T06:44:15.383" v="50" actId="2696"/>
        <pc:sldMkLst>
          <pc:docMk/>
          <pc:sldMk cId="2439442107" sldId="3522"/>
        </pc:sldMkLst>
      </pc:sldChg>
      <pc:sldChg chg="del">
        <pc:chgData name="Ojas Rajpal" userId="51f5808b-b899-4853-a9c1-d0f056bcd62b" providerId="ADAL" clId="{6D74ED87-DB79-4CAF-BA45-025B60DFCFBD}" dt="2022-03-30T07:50:27.220" v="761" actId="2696"/>
        <pc:sldMkLst>
          <pc:docMk/>
          <pc:sldMk cId="1888328583" sldId="3523"/>
        </pc:sldMkLst>
      </pc:sldChg>
      <pc:sldChg chg="add">
        <pc:chgData name="Ojas Rajpal" userId="51f5808b-b899-4853-a9c1-d0f056bcd62b" providerId="ADAL" clId="{6D74ED87-DB79-4CAF-BA45-025B60DFCFBD}" dt="2022-03-30T06:44:30.207" v="51"/>
        <pc:sldMkLst>
          <pc:docMk/>
          <pc:sldMk cId="0" sldId="3524"/>
        </pc:sldMkLst>
      </pc:sldChg>
      <pc:sldChg chg="add del">
        <pc:chgData name="Ojas Rajpal" userId="51f5808b-b899-4853-a9c1-d0f056bcd62b" providerId="ADAL" clId="{6D74ED87-DB79-4CAF-BA45-025B60DFCFBD}" dt="2022-03-30T07:29:48.091" v="639" actId="2696"/>
        <pc:sldMkLst>
          <pc:docMk/>
          <pc:sldMk cId="1707305271" sldId="3525"/>
        </pc:sldMkLst>
      </pc:sldChg>
      <pc:sldChg chg="addSp delSp modSp add del mod">
        <pc:chgData name="Ojas Rajpal" userId="51f5808b-b899-4853-a9c1-d0f056bcd62b" providerId="ADAL" clId="{6D74ED87-DB79-4CAF-BA45-025B60DFCFBD}" dt="2022-03-30T07:58:46.957" v="806" actId="2696"/>
        <pc:sldMkLst>
          <pc:docMk/>
          <pc:sldMk cId="4043416108" sldId="3526"/>
        </pc:sldMkLst>
        <pc:spChg chg="mod">
          <ac:chgData name="Ojas Rajpal" userId="51f5808b-b899-4853-a9c1-d0f056bcd62b" providerId="ADAL" clId="{6D74ED87-DB79-4CAF-BA45-025B60DFCFBD}" dt="2022-03-30T07:22:28.497" v="423" actId="1035"/>
          <ac:spMkLst>
            <pc:docMk/>
            <pc:sldMk cId="4043416108" sldId="3526"/>
            <ac:spMk id="7" creationId="{4C51769B-1A75-4312-B44F-AD99D27B944F}"/>
          </ac:spMkLst>
        </pc:spChg>
        <pc:spChg chg="mod">
          <ac:chgData name="Ojas Rajpal" userId="51f5808b-b899-4853-a9c1-d0f056bcd62b" providerId="ADAL" clId="{6D74ED87-DB79-4CAF-BA45-025B60DFCFBD}" dt="2022-03-30T07:22:33.425" v="431" actId="1035"/>
          <ac:spMkLst>
            <pc:docMk/>
            <pc:sldMk cId="4043416108" sldId="3526"/>
            <ac:spMk id="8" creationId="{6E5D878F-44F1-45FD-9C5D-FA05DCBDF0CF}"/>
          </ac:spMkLst>
        </pc:spChg>
        <pc:spChg chg="mod">
          <ac:chgData name="Ojas Rajpal" userId="51f5808b-b899-4853-a9c1-d0f056bcd62b" providerId="ADAL" clId="{6D74ED87-DB79-4CAF-BA45-025B60DFCFBD}" dt="2022-03-30T07:23:15.530" v="455" actId="20577"/>
          <ac:spMkLst>
            <pc:docMk/>
            <pc:sldMk cId="4043416108" sldId="3526"/>
            <ac:spMk id="9" creationId="{9DFF69AF-3FF5-4892-910C-A6AB04917686}"/>
          </ac:spMkLst>
        </pc:spChg>
        <pc:spChg chg="add del mod">
          <ac:chgData name="Ojas Rajpal" userId="51f5808b-b899-4853-a9c1-d0f056bcd62b" providerId="ADAL" clId="{6D74ED87-DB79-4CAF-BA45-025B60DFCFBD}" dt="2022-03-30T07:29:44.126" v="638" actId="20577"/>
          <ac:spMkLst>
            <pc:docMk/>
            <pc:sldMk cId="4043416108" sldId="3526"/>
            <ac:spMk id="13" creationId="{D1AEF6A5-A15C-4947-AD35-807CFCA3E699}"/>
          </ac:spMkLst>
        </pc:spChg>
        <pc:spChg chg="mod">
          <ac:chgData name="Ojas Rajpal" userId="51f5808b-b899-4853-a9c1-d0f056bcd62b" providerId="ADAL" clId="{6D74ED87-DB79-4CAF-BA45-025B60DFCFBD}" dt="2022-03-30T07:22:18.706" v="407" actId="1035"/>
          <ac:spMkLst>
            <pc:docMk/>
            <pc:sldMk cId="4043416108" sldId="3526"/>
            <ac:spMk id="16" creationId="{F2596971-D400-4913-B728-18122866CEE2}"/>
          </ac:spMkLst>
        </pc:spChg>
        <pc:spChg chg="add mod">
          <ac:chgData name="Ojas Rajpal" userId="51f5808b-b899-4853-a9c1-d0f056bcd62b" providerId="ADAL" clId="{6D74ED87-DB79-4CAF-BA45-025B60DFCFBD}" dt="2022-03-30T07:28:32.716" v="628" actId="20577"/>
          <ac:spMkLst>
            <pc:docMk/>
            <pc:sldMk cId="4043416108" sldId="3526"/>
            <ac:spMk id="18" creationId="{D60E1DB2-6F2E-4290-9FF0-0E1164A5B78F}"/>
          </ac:spMkLst>
        </pc:spChg>
        <pc:spChg chg="del">
          <ac:chgData name="Ojas Rajpal" userId="51f5808b-b899-4853-a9c1-d0f056bcd62b" providerId="ADAL" clId="{6D74ED87-DB79-4CAF-BA45-025B60DFCFBD}" dt="2022-03-30T07:58:24.484" v="805" actId="478"/>
          <ac:spMkLst>
            <pc:docMk/>
            <pc:sldMk cId="4043416108" sldId="3526"/>
            <ac:spMk id="19" creationId="{EA23C8CD-9FD7-A04A-97F8-0DF3D52B90FB}"/>
          </ac:spMkLst>
        </pc:spChg>
        <pc:spChg chg="mod">
          <ac:chgData name="Ojas Rajpal" userId="51f5808b-b899-4853-a9c1-d0f056bcd62b" providerId="ADAL" clId="{6D74ED87-DB79-4CAF-BA45-025B60DFCFBD}" dt="2022-03-30T07:22:28.497" v="423" actId="1035"/>
          <ac:spMkLst>
            <pc:docMk/>
            <pc:sldMk cId="4043416108" sldId="3526"/>
            <ac:spMk id="20" creationId="{7E60A716-5263-40D7-A37B-54040E4316B3}"/>
          </ac:spMkLst>
        </pc:spChg>
        <pc:spChg chg="mod">
          <ac:chgData name="Ojas Rajpal" userId="51f5808b-b899-4853-a9c1-d0f056bcd62b" providerId="ADAL" clId="{6D74ED87-DB79-4CAF-BA45-025B60DFCFBD}" dt="2022-03-30T07:22:33.425" v="431" actId="1035"/>
          <ac:spMkLst>
            <pc:docMk/>
            <pc:sldMk cId="4043416108" sldId="3526"/>
            <ac:spMk id="21" creationId="{170AADAA-B247-4BC4-B3B0-E0510863B815}"/>
          </ac:spMkLst>
        </pc:spChg>
        <pc:spChg chg="mod">
          <ac:chgData name="Ojas Rajpal" userId="51f5808b-b899-4853-a9c1-d0f056bcd62b" providerId="ADAL" clId="{6D74ED87-DB79-4CAF-BA45-025B60DFCFBD}" dt="2022-03-30T07:22:44.798" v="445" actId="1076"/>
          <ac:spMkLst>
            <pc:docMk/>
            <pc:sldMk cId="4043416108" sldId="3526"/>
            <ac:spMk id="22" creationId="{20DEA367-B737-46A0-B9AE-B017D51A0E11}"/>
          </ac:spMkLst>
        </pc:spChg>
        <pc:spChg chg="add mod">
          <ac:chgData name="Ojas Rajpal" userId="51f5808b-b899-4853-a9c1-d0f056bcd62b" providerId="ADAL" clId="{6D74ED87-DB79-4CAF-BA45-025B60DFCFBD}" dt="2022-03-30T07:22:41.611" v="443" actId="571"/>
          <ac:spMkLst>
            <pc:docMk/>
            <pc:sldMk cId="4043416108" sldId="3526"/>
            <ac:spMk id="24" creationId="{9BB27C87-E3D9-4366-ABE7-8DB4EF309CE4}"/>
          </ac:spMkLst>
        </pc:spChg>
        <pc:spChg chg="add mod">
          <ac:chgData name="Ojas Rajpal" userId="51f5808b-b899-4853-a9c1-d0f056bcd62b" providerId="ADAL" clId="{6D74ED87-DB79-4CAF-BA45-025B60DFCFBD}" dt="2022-03-30T07:22:41.611" v="443" actId="571"/>
          <ac:spMkLst>
            <pc:docMk/>
            <pc:sldMk cId="4043416108" sldId="3526"/>
            <ac:spMk id="25" creationId="{2F08CC80-167F-41FD-ADF7-3DC1EE2AD359}"/>
          </ac:spMkLst>
        </pc:spChg>
        <pc:spChg chg="mod">
          <ac:chgData name="Ojas Rajpal" userId="51f5808b-b899-4853-a9c1-d0f056bcd62b" providerId="ADAL" clId="{6D74ED87-DB79-4CAF-BA45-025B60DFCFBD}" dt="2022-03-30T07:14:33.824" v="298" actId="5793"/>
          <ac:spMkLst>
            <pc:docMk/>
            <pc:sldMk cId="4043416108" sldId="3526"/>
            <ac:spMk id="26" creationId="{CA0451B7-610A-4DBE-ADD3-624003A3D608}"/>
          </ac:spMkLst>
        </pc:spChg>
        <pc:spChg chg="mod">
          <ac:chgData name="Ojas Rajpal" userId="51f5808b-b899-4853-a9c1-d0f056bcd62b" providerId="ADAL" clId="{6D74ED87-DB79-4CAF-BA45-025B60DFCFBD}" dt="2022-03-30T07:29:11.673" v="636" actId="20577"/>
          <ac:spMkLst>
            <pc:docMk/>
            <pc:sldMk cId="4043416108" sldId="3526"/>
            <ac:spMk id="28" creationId="{4D1FE240-2603-47A7-B2EE-9669C334CF77}"/>
          </ac:spMkLst>
        </pc:spChg>
        <pc:spChg chg="add mod">
          <ac:chgData name="Ojas Rajpal" userId="51f5808b-b899-4853-a9c1-d0f056bcd62b" providerId="ADAL" clId="{6D74ED87-DB79-4CAF-BA45-025B60DFCFBD}" dt="2022-03-30T07:23:50.768" v="516" actId="20577"/>
          <ac:spMkLst>
            <pc:docMk/>
            <pc:sldMk cId="4043416108" sldId="3526"/>
            <ac:spMk id="30" creationId="{6D069DFC-80E6-41CC-93D7-40AFFE3DF209}"/>
          </ac:spMkLst>
        </pc:spChg>
        <pc:cxnChg chg="mod">
          <ac:chgData name="Ojas Rajpal" userId="51f5808b-b899-4853-a9c1-d0f056bcd62b" providerId="ADAL" clId="{6D74ED87-DB79-4CAF-BA45-025B60DFCFBD}" dt="2022-03-30T07:22:28.497" v="423" actId="1035"/>
          <ac:cxnSpMkLst>
            <pc:docMk/>
            <pc:sldMk cId="4043416108" sldId="3526"/>
            <ac:cxnSpMk id="10" creationId="{D371B6AD-631D-4012-A5EE-CC99860A5C02}"/>
          </ac:cxnSpMkLst>
        </pc:cxnChg>
        <pc:cxnChg chg="mod">
          <ac:chgData name="Ojas Rajpal" userId="51f5808b-b899-4853-a9c1-d0f056bcd62b" providerId="ADAL" clId="{6D74ED87-DB79-4CAF-BA45-025B60DFCFBD}" dt="2022-03-30T07:22:33.425" v="431" actId="1035"/>
          <ac:cxnSpMkLst>
            <pc:docMk/>
            <pc:sldMk cId="4043416108" sldId="3526"/>
            <ac:cxnSpMk id="11" creationId="{9E2458B0-F349-499D-AAA2-28025EF1BC63}"/>
          </ac:cxnSpMkLst>
        </pc:cxnChg>
        <pc:cxnChg chg="mod">
          <ac:chgData name="Ojas Rajpal" userId="51f5808b-b899-4853-a9c1-d0f056bcd62b" providerId="ADAL" clId="{6D74ED87-DB79-4CAF-BA45-025B60DFCFBD}" dt="2022-03-30T07:22:44.798" v="445" actId="1076"/>
          <ac:cxnSpMkLst>
            <pc:docMk/>
            <pc:sldMk cId="4043416108" sldId="3526"/>
            <ac:cxnSpMk id="12" creationId="{4694C394-1DEB-4D2A-ADF2-0A291DDFF93F}"/>
          </ac:cxnSpMkLst>
        </pc:cxnChg>
        <pc:cxnChg chg="add mod">
          <ac:chgData name="Ojas Rajpal" userId="51f5808b-b899-4853-a9c1-d0f056bcd62b" providerId="ADAL" clId="{6D74ED87-DB79-4CAF-BA45-025B60DFCFBD}" dt="2022-03-30T07:22:41.611" v="443" actId="571"/>
          <ac:cxnSpMkLst>
            <pc:docMk/>
            <pc:sldMk cId="4043416108" sldId="3526"/>
            <ac:cxnSpMk id="23" creationId="{E2F8524E-B039-4F65-AE7E-0E6C9E36FF1D}"/>
          </ac:cxnSpMkLst>
        </pc:cxnChg>
        <pc:cxnChg chg="mod">
          <ac:chgData name="Ojas Rajpal" userId="51f5808b-b899-4853-a9c1-d0f056bcd62b" providerId="ADAL" clId="{6D74ED87-DB79-4CAF-BA45-025B60DFCFBD}" dt="2022-03-30T07:22:24.063" v="415" actId="1036"/>
          <ac:cxnSpMkLst>
            <pc:docMk/>
            <pc:sldMk cId="4043416108" sldId="3526"/>
            <ac:cxnSpMk id="27" creationId="{353FD80B-E42C-43D1-B323-E9AE1C6A077B}"/>
          </ac:cxnSpMkLst>
        </pc:cxnChg>
        <pc:cxnChg chg="add mod">
          <ac:chgData name="Ojas Rajpal" userId="51f5808b-b899-4853-a9c1-d0f056bcd62b" providerId="ADAL" clId="{6D74ED87-DB79-4CAF-BA45-025B60DFCFBD}" dt="2022-03-30T07:23:37.700" v="495" actId="1037"/>
          <ac:cxnSpMkLst>
            <pc:docMk/>
            <pc:sldMk cId="4043416108" sldId="3526"/>
            <ac:cxnSpMk id="29" creationId="{848FBE0C-F4C0-43E1-BCE1-2FCFADBCB6B4}"/>
          </ac:cxnSpMkLst>
        </pc:cxnChg>
      </pc:sldChg>
      <pc:sldChg chg="add del">
        <pc:chgData name="Ojas Rajpal" userId="51f5808b-b899-4853-a9c1-d0f056bcd62b" providerId="ADAL" clId="{6D74ED87-DB79-4CAF-BA45-025B60DFCFBD}" dt="2022-03-30T07:03:12.915" v="66" actId="2696"/>
        <pc:sldMkLst>
          <pc:docMk/>
          <pc:sldMk cId="2302534480" sldId="3527"/>
        </pc:sldMkLst>
      </pc:sldChg>
      <pc:sldChg chg="delSp modSp add mod">
        <pc:chgData name="Ojas Rajpal" userId="51f5808b-b899-4853-a9c1-d0f056bcd62b" providerId="ADAL" clId="{6D74ED87-DB79-4CAF-BA45-025B60DFCFBD}" dt="2022-03-30T08:44:43.873" v="3383" actId="255"/>
        <pc:sldMkLst>
          <pc:docMk/>
          <pc:sldMk cId="2564010044" sldId="3527"/>
        </pc:sldMkLst>
        <pc:spChg chg="mod">
          <ac:chgData name="Ojas Rajpal" userId="51f5808b-b899-4853-a9c1-d0f056bcd62b" providerId="ADAL" clId="{6D74ED87-DB79-4CAF-BA45-025B60DFCFBD}" dt="2022-03-30T08:44:43.873" v="3383" actId="255"/>
          <ac:spMkLst>
            <pc:docMk/>
            <pc:sldMk cId="2564010044" sldId="3527"/>
            <ac:spMk id="7" creationId="{4C51769B-1A75-4312-B44F-AD99D27B944F}"/>
          </ac:spMkLst>
        </pc:spChg>
        <pc:spChg chg="mod">
          <ac:chgData name="Ojas Rajpal" userId="51f5808b-b899-4853-a9c1-d0f056bcd62b" providerId="ADAL" clId="{6D74ED87-DB79-4CAF-BA45-025B60DFCFBD}" dt="2022-03-30T08:44:43.873" v="3383" actId="255"/>
          <ac:spMkLst>
            <pc:docMk/>
            <pc:sldMk cId="2564010044" sldId="3527"/>
            <ac:spMk id="8" creationId="{6E5D878F-44F1-45FD-9C5D-FA05DCBDF0CF}"/>
          </ac:spMkLst>
        </pc:spChg>
        <pc:spChg chg="mod">
          <ac:chgData name="Ojas Rajpal" userId="51f5808b-b899-4853-a9c1-d0f056bcd62b" providerId="ADAL" clId="{6D74ED87-DB79-4CAF-BA45-025B60DFCFBD}" dt="2022-03-30T08:44:43.873" v="3383" actId="255"/>
          <ac:spMkLst>
            <pc:docMk/>
            <pc:sldMk cId="2564010044" sldId="3527"/>
            <ac:spMk id="9" creationId="{9DFF69AF-3FF5-4892-910C-A6AB04917686}"/>
          </ac:spMkLst>
        </pc:spChg>
        <pc:spChg chg="mod">
          <ac:chgData name="Ojas Rajpal" userId="51f5808b-b899-4853-a9c1-d0f056bcd62b" providerId="ADAL" clId="{6D74ED87-DB79-4CAF-BA45-025B60DFCFBD}" dt="2022-03-30T08:44:43.873" v="3383" actId="255"/>
          <ac:spMkLst>
            <pc:docMk/>
            <pc:sldMk cId="2564010044" sldId="3527"/>
            <ac:spMk id="13" creationId="{D1AEF6A5-A15C-4947-AD35-807CFCA3E699}"/>
          </ac:spMkLst>
        </pc:spChg>
        <pc:spChg chg="mod">
          <ac:chgData name="Ojas Rajpal" userId="51f5808b-b899-4853-a9c1-d0f056bcd62b" providerId="ADAL" clId="{6D74ED87-DB79-4CAF-BA45-025B60DFCFBD}" dt="2022-03-30T08:44:43.873" v="3383" actId="255"/>
          <ac:spMkLst>
            <pc:docMk/>
            <pc:sldMk cId="2564010044" sldId="3527"/>
            <ac:spMk id="18" creationId="{D60E1DB2-6F2E-4290-9FF0-0E1164A5B78F}"/>
          </ac:spMkLst>
        </pc:spChg>
        <pc:spChg chg="del">
          <ac:chgData name="Ojas Rajpal" userId="51f5808b-b899-4853-a9c1-d0f056bcd62b" providerId="ADAL" clId="{6D74ED87-DB79-4CAF-BA45-025B60DFCFBD}" dt="2022-03-30T07:47:10.065" v="685" actId="478"/>
          <ac:spMkLst>
            <pc:docMk/>
            <pc:sldMk cId="2564010044" sldId="3527"/>
            <ac:spMk id="19" creationId="{EA23C8CD-9FD7-A04A-97F8-0DF3D52B90FB}"/>
          </ac:spMkLst>
        </pc:spChg>
        <pc:spChg chg="mod">
          <ac:chgData name="Ojas Rajpal" userId="51f5808b-b899-4853-a9c1-d0f056bcd62b" providerId="ADAL" clId="{6D74ED87-DB79-4CAF-BA45-025B60DFCFBD}" dt="2022-03-30T07:48:54.146" v="734" actId="1036"/>
          <ac:spMkLst>
            <pc:docMk/>
            <pc:sldMk cId="2564010044" sldId="3527"/>
            <ac:spMk id="20" creationId="{7E60A716-5263-40D7-A37B-54040E4316B3}"/>
          </ac:spMkLst>
        </pc:spChg>
        <pc:spChg chg="mod">
          <ac:chgData name="Ojas Rajpal" userId="51f5808b-b899-4853-a9c1-d0f056bcd62b" providerId="ADAL" clId="{6D74ED87-DB79-4CAF-BA45-025B60DFCFBD}" dt="2022-03-30T07:49:01.027" v="747" actId="1035"/>
          <ac:spMkLst>
            <pc:docMk/>
            <pc:sldMk cId="2564010044" sldId="3527"/>
            <ac:spMk id="21" creationId="{170AADAA-B247-4BC4-B3B0-E0510863B815}"/>
          </ac:spMkLst>
        </pc:spChg>
        <pc:spChg chg="mod">
          <ac:chgData name="Ojas Rajpal" userId="51f5808b-b899-4853-a9c1-d0f056bcd62b" providerId="ADAL" clId="{6D74ED87-DB79-4CAF-BA45-025B60DFCFBD}" dt="2022-03-30T07:49:08.401" v="753" actId="1036"/>
          <ac:spMkLst>
            <pc:docMk/>
            <pc:sldMk cId="2564010044" sldId="3527"/>
            <ac:spMk id="22" creationId="{20DEA367-B737-46A0-B9AE-B017D51A0E11}"/>
          </ac:spMkLst>
        </pc:spChg>
        <pc:spChg chg="mod">
          <ac:chgData name="Ojas Rajpal" userId="51f5808b-b899-4853-a9c1-d0f056bcd62b" providerId="ADAL" clId="{6D74ED87-DB79-4CAF-BA45-025B60DFCFBD}" dt="2022-03-30T07:43:26.393" v="647" actId="20577"/>
          <ac:spMkLst>
            <pc:docMk/>
            <pc:sldMk cId="2564010044" sldId="3527"/>
            <ac:spMk id="26" creationId="{CA0451B7-610A-4DBE-ADD3-624003A3D608}"/>
          </ac:spMkLst>
        </pc:spChg>
        <pc:spChg chg="mod">
          <ac:chgData name="Ojas Rajpal" userId="51f5808b-b899-4853-a9c1-d0f056bcd62b" providerId="ADAL" clId="{6D74ED87-DB79-4CAF-BA45-025B60DFCFBD}" dt="2022-03-30T07:47:59.396" v="711" actId="1037"/>
          <ac:spMkLst>
            <pc:docMk/>
            <pc:sldMk cId="2564010044" sldId="3527"/>
            <ac:spMk id="28" creationId="{4D1FE240-2603-47A7-B2EE-9669C334CF77}"/>
          </ac:spMkLst>
        </pc:spChg>
        <pc:spChg chg="mod">
          <ac:chgData name="Ojas Rajpal" userId="51f5808b-b899-4853-a9c1-d0f056bcd62b" providerId="ADAL" clId="{6D74ED87-DB79-4CAF-BA45-025B60DFCFBD}" dt="2022-03-30T07:49:14.820" v="758" actId="1036"/>
          <ac:spMkLst>
            <pc:docMk/>
            <pc:sldMk cId="2564010044" sldId="3527"/>
            <ac:spMk id="30" creationId="{6D069DFC-80E6-41CC-93D7-40AFFE3DF209}"/>
          </ac:spMkLst>
        </pc:spChg>
        <pc:cxnChg chg="mod">
          <ac:chgData name="Ojas Rajpal" userId="51f5808b-b899-4853-a9c1-d0f056bcd62b" providerId="ADAL" clId="{6D74ED87-DB79-4CAF-BA45-025B60DFCFBD}" dt="2022-03-30T07:48:54.146" v="734" actId="1036"/>
          <ac:cxnSpMkLst>
            <pc:docMk/>
            <pc:sldMk cId="2564010044" sldId="3527"/>
            <ac:cxnSpMk id="10" creationId="{D371B6AD-631D-4012-A5EE-CC99860A5C02}"/>
          </ac:cxnSpMkLst>
        </pc:cxnChg>
        <pc:cxnChg chg="mod">
          <ac:chgData name="Ojas Rajpal" userId="51f5808b-b899-4853-a9c1-d0f056bcd62b" providerId="ADAL" clId="{6D74ED87-DB79-4CAF-BA45-025B60DFCFBD}" dt="2022-03-30T07:49:01.027" v="747" actId="1035"/>
          <ac:cxnSpMkLst>
            <pc:docMk/>
            <pc:sldMk cId="2564010044" sldId="3527"/>
            <ac:cxnSpMk id="11" creationId="{9E2458B0-F349-499D-AAA2-28025EF1BC63}"/>
          </ac:cxnSpMkLst>
        </pc:cxnChg>
        <pc:cxnChg chg="mod">
          <ac:chgData name="Ojas Rajpal" userId="51f5808b-b899-4853-a9c1-d0f056bcd62b" providerId="ADAL" clId="{6D74ED87-DB79-4CAF-BA45-025B60DFCFBD}" dt="2022-03-30T07:49:08.401" v="753" actId="1036"/>
          <ac:cxnSpMkLst>
            <pc:docMk/>
            <pc:sldMk cId="2564010044" sldId="3527"/>
            <ac:cxnSpMk id="12" creationId="{4694C394-1DEB-4D2A-ADF2-0A291DDFF93F}"/>
          </ac:cxnSpMkLst>
        </pc:cxnChg>
        <pc:cxnChg chg="mod">
          <ac:chgData name="Ojas Rajpal" userId="51f5808b-b899-4853-a9c1-d0f056bcd62b" providerId="ADAL" clId="{6D74ED87-DB79-4CAF-BA45-025B60DFCFBD}" dt="2022-03-30T07:49:14.820" v="758" actId="1036"/>
          <ac:cxnSpMkLst>
            <pc:docMk/>
            <pc:sldMk cId="2564010044" sldId="3527"/>
            <ac:cxnSpMk id="29" creationId="{848FBE0C-F4C0-43E1-BCE1-2FCFADBCB6B4}"/>
          </ac:cxnSpMkLst>
        </pc:cxnChg>
      </pc:sldChg>
      <pc:sldChg chg="addSp delSp modSp add mod ord">
        <pc:chgData name="Ojas Rajpal" userId="51f5808b-b899-4853-a9c1-d0f056bcd62b" providerId="ADAL" clId="{6D74ED87-DB79-4CAF-BA45-025B60DFCFBD}" dt="2022-03-30T08:42:32.842" v="3271" actId="1036"/>
        <pc:sldMkLst>
          <pc:docMk/>
          <pc:sldMk cId="1872906630" sldId="3528"/>
        </pc:sldMkLst>
        <pc:spChg chg="mod">
          <ac:chgData name="Ojas Rajpal" userId="51f5808b-b899-4853-a9c1-d0f056bcd62b" providerId="ADAL" clId="{6D74ED87-DB79-4CAF-BA45-025B60DFCFBD}" dt="2022-03-30T07:54:39.717" v="766" actId="20577"/>
          <ac:spMkLst>
            <pc:docMk/>
            <pc:sldMk cId="1872906630" sldId="3528"/>
            <ac:spMk id="3" creationId="{D076719E-B36E-40E3-97E8-E213435E2096}"/>
          </ac:spMkLst>
        </pc:spChg>
        <pc:spChg chg="del">
          <ac:chgData name="Ojas Rajpal" userId="51f5808b-b899-4853-a9c1-d0f056bcd62b" providerId="ADAL" clId="{6D74ED87-DB79-4CAF-BA45-025B60DFCFBD}" dt="2022-03-30T07:55:06.751" v="767" actId="478"/>
          <ac:spMkLst>
            <pc:docMk/>
            <pc:sldMk cId="1872906630" sldId="3528"/>
            <ac:spMk id="29" creationId="{11BB5F28-AC40-4AAC-87E8-CF77850C1ADB}"/>
          </ac:spMkLst>
        </pc:spChg>
        <pc:spChg chg="del">
          <ac:chgData name="Ojas Rajpal" userId="51f5808b-b899-4853-a9c1-d0f056bcd62b" providerId="ADAL" clId="{6D74ED87-DB79-4CAF-BA45-025B60DFCFBD}" dt="2022-03-30T07:55:06.751" v="767" actId="478"/>
          <ac:spMkLst>
            <pc:docMk/>
            <pc:sldMk cId="1872906630" sldId="3528"/>
            <ac:spMk id="30" creationId="{31DDA94F-52A7-4985-A923-F17B2E225109}"/>
          </ac:spMkLst>
        </pc:spChg>
        <pc:spChg chg="del">
          <ac:chgData name="Ojas Rajpal" userId="51f5808b-b899-4853-a9c1-d0f056bcd62b" providerId="ADAL" clId="{6D74ED87-DB79-4CAF-BA45-025B60DFCFBD}" dt="2022-03-30T07:55:06.751" v="767" actId="478"/>
          <ac:spMkLst>
            <pc:docMk/>
            <pc:sldMk cId="1872906630" sldId="3528"/>
            <ac:spMk id="31" creationId="{DDB62097-8E0C-4868-8A41-223F9EC8780F}"/>
          </ac:spMkLst>
        </pc:spChg>
        <pc:spChg chg="del">
          <ac:chgData name="Ojas Rajpal" userId="51f5808b-b899-4853-a9c1-d0f056bcd62b" providerId="ADAL" clId="{6D74ED87-DB79-4CAF-BA45-025B60DFCFBD}" dt="2022-03-30T07:55:06.751" v="767" actId="478"/>
          <ac:spMkLst>
            <pc:docMk/>
            <pc:sldMk cId="1872906630" sldId="3528"/>
            <ac:spMk id="32" creationId="{EC1BD49C-9FE5-46A1-B65B-94F9A9C64CDA}"/>
          </ac:spMkLst>
        </pc:spChg>
        <pc:spChg chg="del">
          <ac:chgData name="Ojas Rajpal" userId="51f5808b-b899-4853-a9c1-d0f056bcd62b" providerId="ADAL" clId="{6D74ED87-DB79-4CAF-BA45-025B60DFCFBD}" dt="2022-03-30T07:55:06.751" v="767" actId="478"/>
          <ac:spMkLst>
            <pc:docMk/>
            <pc:sldMk cId="1872906630" sldId="3528"/>
            <ac:spMk id="33" creationId="{68F7C370-6E1F-4074-9EAA-2687690917ED}"/>
          </ac:spMkLst>
        </pc:spChg>
        <pc:spChg chg="del">
          <ac:chgData name="Ojas Rajpal" userId="51f5808b-b899-4853-a9c1-d0f056bcd62b" providerId="ADAL" clId="{6D74ED87-DB79-4CAF-BA45-025B60DFCFBD}" dt="2022-03-30T07:55:06.751" v="767" actId="478"/>
          <ac:spMkLst>
            <pc:docMk/>
            <pc:sldMk cId="1872906630" sldId="3528"/>
            <ac:spMk id="34" creationId="{63263327-AB6C-44AA-8996-AC0D48DED68D}"/>
          </ac:spMkLst>
        </pc:spChg>
        <pc:spChg chg="del">
          <ac:chgData name="Ojas Rajpal" userId="51f5808b-b899-4853-a9c1-d0f056bcd62b" providerId="ADAL" clId="{6D74ED87-DB79-4CAF-BA45-025B60DFCFBD}" dt="2022-03-30T07:55:06.751" v="767" actId="478"/>
          <ac:spMkLst>
            <pc:docMk/>
            <pc:sldMk cId="1872906630" sldId="3528"/>
            <ac:spMk id="35" creationId="{056EF080-2B15-462F-BF84-12688B9619CA}"/>
          </ac:spMkLst>
        </pc:spChg>
        <pc:spChg chg="del">
          <ac:chgData name="Ojas Rajpal" userId="51f5808b-b899-4853-a9c1-d0f056bcd62b" providerId="ADAL" clId="{6D74ED87-DB79-4CAF-BA45-025B60DFCFBD}" dt="2022-03-30T07:55:06.751" v="767" actId="478"/>
          <ac:spMkLst>
            <pc:docMk/>
            <pc:sldMk cId="1872906630" sldId="3528"/>
            <ac:spMk id="36" creationId="{495D9D98-F648-4FDE-92A0-2A3B8778E9CF}"/>
          </ac:spMkLst>
        </pc:spChg>
        <pc:spChg chg="del">
          <ac:chgData name="Ojas Rajpal" userId="51f5808b-b899-4853-a9c1-d0f056bcd62b" providerId="ADAL" clId="{6D74ED87-DB79-4CAF-BA45-025B60DFCFBD}" dt="2022-03-30T07:55:06.751" v="767" actId="478"/>
          <ac:spMkLst>
            <pc:docMk/>
            <pc:sldMk cId="1872906630" sldId="3528"/>
            <ac:spMk id="37" creationId="{B3693F9A-6A92-46FD-AC0E-4BFA587FEFBD}"/>
          </ac:spMkLst>
        </pc:spChg>
        <pc:spChg chg="del">
          <ac:chgData name="Ojas Rajpal" userId="51f5808b-b899-4853-a9c1-d0f056bcd62b" providerId="ADAL" clId="{6D74ED87-DB79-4CAF-BA45-025B60DFCFBD}" dt="2022-03-30T07:55:06.751" v="767" actId="478"/>
          <ac:spMkLst>
            <pc:docMk/>
            <pc:sldMk cId="1872906630" sldId="3528"/>
            <ac:spMk id="38" creationId="{C299765E-2AEB-4358-9D9E-F9CAD63EC368}"/>
          </ac:spMkLst>
        </pc:spChg>
        <pc:spChg chg="del">
          <ac:chgData name="Ojas Rajpal" userId="51f5808b-b899-4853-a9c1-d0f056bcd62b" providerId="ADAL" clId="{6D74ED87-DB79-4CAF-BA45-025B60DFCFBD}" dt="2022-03-30T07:55:06.751" v="767" actId="478"/>
          <ac:spMkLst>
            <pc:docMk/>
            <pc:sldMk cId="1872906630" sldId="3528"/>
            <ac:spMk id="39" creationId="{EFC6FE14-2231-4628-891A-870FAADBCCC0}"/>
          </ac:spMkLst>
        </pc:spChg>
        <pc:spChg chg="del">
          <ac:chgData name="Ojas Rajpal" userId="51f5808b-b899-4853-a9c1-d0f056bcd62b" providerId="ADAL" clId="{6D74ED87-DB79-4CAF-BA45-025B60DFCFBD}" dt="2022-03-30T07:55:06.751" v="767" actId="478"/>
          <ac:spMkLst>
            <pc:docMk/>
            <pc:sldMk cId="1872906630" sldId="3528"/>
            <ac:spMk id="40" creationId="{A716DA95-B5BE-47A0-9E3B-25B343465DC9}"/>
          </ac:spMkLst>
        </pc:spChg>
        <pc:spChg chg="del">
          <ac:chgData name="Ojas Rajpal" userId="51f5808b-b899-4853-a9c1-d0f056bcd62b" providerId="ADAL" clId="{6D74ED87-DB79-4CAF-BA45-025B60DFCFBD}" dt="2022-03-30T07:55:06.751" v="767" actId="478"/>
          <ac:spMkLst>
            <pc:docMk/>
            <pc:sldMk cId="1872906630" sldId="3528"/>
            <ac:spMk id="41" creationId="{E898D414-DF8F-4EA7-AD33-6CA9DB746BE6}"/>
          </ac:spMkLst>
        </pc:spChg>
        <pc:spChg chg="del">
          <ac:chgData name="Ojas Rajpal" userId="51f5808b-b899-4853-a9c1-d0f056bcd62b" providerId="ADAL" clId="{6D74ED87-DB79-4CAF-BA45-025B60DFCFBD}" dt="2022-03-30T08:26:38.821" v="2348" actId="478"/>
          <ac:spMkLst>
            <pc:docMk/>
            <pc:sldMk cId="1872906630" sldId="3528"/>
            <ac:spMk id="91" creationId="{72999F05-0C77-4765-B0E8-C0C472600570}"/>
          </ac:spMkLst>
        </pc:spChg>
        <pc:spChg chg="del">
          <ac:chgData name="Ojas Rajpal" userId="51f5808b-b899-4853-a9c1-d0f056bcd62b" providerId="ADAL" clId="{6D74ED87-DB79-4CAF-BA45-025B60DFCFBD}" dt="2022-03-30T08:26:38.821" v="2348" actId="478"/>
          <ac:spMkLst>
            <pc:docMk/>
            <pc:sldMk cId="1872906630" sldId="3528"/>
            <ac:spMk id="92" creationId="{1094B728-DD55-4B29-AEA1-55A75043458A}"/>
          </ac:spMkLst>
        </pc:spChg>
        <pc:spChg chg="del">
          <ac:chgData name="Ojas Rajpal" userId="51f5808b-b899-4853-a9c1-d0f056bcd62b" providerId="ADAL" clId="{6D74ED87-DB79-4CAF-BA45-025B60DFCFBD}" dt="2022-03-30T08:26:38.821" v="2348" actId="478"/>
          <ac:spMkLst>
            <pc:docMk/>
            <pc:sldMk cId="1872906630" sldId="3528"/>
            <ac:spMk id="93" creationId="{E59E7E89-7852-4D77-926F-CE1656CCA1F5}"/>
          </ac:spMkLst>
        </pc:spChg>
        <pc:spChg chg="del">
          <ac:chgData name="Ojas Rajpal" userId="51f5808b-b899-4853-a9c1-d0f056bcd62b" providerId="ADAL" clId="{6D74ED87-DB79-4CAF-BA45-025B60DFCFBD}" dt="2022-03-30T08:26:38.821" v="2348" actId="478"/>
          <ac:spMkLst>
            <pc:docMk/>
            <pc:sldMk cId="1872906630" sldId="3528"/>
            <ac:spMk id="94" creationId="{996842C0-9A8D-47CF-85A1-AD959C6A0563}"/>
          </ac:spMkLst>
        </pc:spChg>
        <pc:spChg chg="del">
          <ac:chgData name="Ojas Rajpal" userId="51f5808b-b899-4853-a9c1-d0f056bcd62b" providerId="ADAL" clId="{6D74ED87-DB79-4CAF-BA45-025B60DFCFBD}" dt="2022-03-30T08:26:38.821" v="2348" actId="478"/>
          <ac:spMkLst>
            <pc:docMk/>
            <pc:sldMk cId="1872906630" sldId="3528"/>
            <ac:spMk id="97" creationId="{980FF9F5-71A4-4A2A-8155-F09E7F04E664}"/>
          </ac:spMkLst>
        </pc:spChg>
        <pc:spChg chg="del">
          <ac:chgData name="Ojas Rajpal" userId="51f5808b-b899-4853-a9c1-d0f056bcd62b" providerId="ADAL" clId="{6D74ED87-DB79-4CAF-BA45-025B60DFCFBD}" dt="2022-03-30T08:26:38.821" v="2348" actId="478"/>
          <ac:spMkLst>
            <pc:docMk/>
            <pc:sldMk cId="1872906630" sldId="3528"/>
            <ac:spMk id="98" creationId="{4064596F-4259-49FE-8159-CA508AA18D80}"/>
          </ac:spMkLst>
        </pc:spChg>
        <pc:spChg chg="del">
          <ac:chgData name="Ojas Rajpal" userId="51f5808b-b899-4853-a9c1-d0f056bcd62b" providerId="ADAL" clId="{6D74ED87-DB79-4CAF-BA45-025B60DFCFBD}" dt="2022-03-30T08:26:38.821" v="2348" actId="478"/>
          <ac:spMkLst>
            <pc:docMk/>
            <pc:sldMk cId="1872906630" sldId="3528"/>
            <ac:spMk id="99" creationId="{38F3698E-D276-48D5-957B-2C349E400FE4}"/>
          </ac:spMkLst>
        </pc:spChg>
        <pc:spChg chg="del">
          <ac:chgData name="Ojas Rajpal" userId="51f5808b-b899-4853-a9c1-d0f056bcd62b" providerId="ADAL" clId="{6D74ED87-DB79-4CAF-BA45-025B60DFCFBD}" dt="2022-03-30T08:26:38.821" v="2348" actId="478"/>
          <ac:spMkLst>
            <pc:docMk/>
            <pc:sldMk cId="1872906630" sldId="3528"/>
            <ac:spMk id="100" creationId="{AA854E9B-EE50-43E1-9A96-364DD6114F65}"/>
          </ac:spMkLst>
        </pc:spChg>
        <pc:spChg chg="del">
          <ac:chgData name="Ojas Rajpal" userId="51f5808b-b899-4853-a9c1-d0f056bcd62b" providerId="ADAL" clId="{6D74ED87-DB79-4CAF-BA45-025B60DFCFBD}" dt="2022-03-30T08:26:38.821" v="2348" actId="478"/>
          <ac:spMkLst>
            <pc:docMk/>
            <pc:sldMk cId="1872906630" sldId="3528"/>
            <ac:spMk id="101" creationId="{91B2758C-27A4-4B9F-814C-95B5BA9F4966}"/>
          </ac:spMkLst>
        </pc:spChg>
        <pc:spChg chg="del">
          <ac:chgData name="Ojas Rajpal" userId="51f5808b-b899-4853-a9c1-d0f056bcd62b" providerId="ADAL" clId="{6D74ED87-DB79-4CAF-BA45-025B60DFCFBD}" dt="2022-03-30T08:26:38.821" v="2348" actId="478"/>
          <ac:spMkLst>
            <pc:docMk/>
            <pc:sldMk cId="1872906630" sldId="3528"/>
            <ac:spMk id="102" creationId="{23C732AD-C496-43A0-A7F7-76F6A2F52F01}"/>
          </ac:spMkLst>
        </pc:spChg>
        <pc:spChg chg="del">
          <ac:chgData name="Ojas Rajpal" userId="51f5808b-b899-4853-a9c1-d0f056bcd62b" providerId="ADAL" clId="{6D74ED87-DB79-4CAF-BA45-025B60DFCFBD}" dt="2022-03-30T08:26:38.821" v="2348" actId="478"/>
          <ac:spMkLst>
            <pc:docMk/>
            <pc:sldMk cId="1872906630" sldId="3528"/>
            <ac:spMk id="103" creationId="{1698F114-46E7-4E73-8F38-F2CFB5D8E659}"/>
          </ac:spMkLst>
        </pc:spChg>
        <pc:spChg chg="del">
          <ac:chgData name="Ojas Rajpal" userId="51f5808b-b899-4853-a9c1-d0f056bcd62b" providerId="ADAL" clId="{6D74ED87-DB79-4CAF-BA45-025B60DFCFBD}" dt="2022-03-30T08:26:38.821" v="2348" actId="478"/>
          <ac:spMkLst>
            <pc:docMk/>
            <pc:sldMk cId="1872906630" sldId="3528"/>
            <ac:spMk id="104" creationId="{7509505F-CBEB-4B10-9734-68B6B9FA7489}"/>
          </ac:spMkLst>
        </pc:spChg>
        <pc:spChg chg="del">
          <ac:chgData name="Ojas Rajpal" userId="51f5808b-b899-4853-a9c1-d0f056bcd62b" providerId="ADAL" clId="{6D74ED87-DB79-4CAF-BA45-025B60DFCFBD}" dt="2022-03-30T08:26:38.821" v="2348" actId="478"/>
          <ac:spMkLst>
            <pc:docMk/>
            <pc:sldMk cId="1872906630" sldId="3528"/>
            <ac:spMk id="105" creationId="{5E8CD537-E39A-4DC9-AABC-164E5B3F068C}"/>
          </ac:spMkLst>
        </pc:spChg>
        <pc:spChg chg="del">
          <ac:chgData name="Ojas Rajpal" userId="51f5808b-b899-4853-a9c1-d0f056bcd62b" providerId="ADAL" clId="{6D74ED87-DB79-4CAF-BA45-025B60DFCFBD}" dt="2022-03-30T08:26:38.821" v="2348" actId="478"/>
          <ac:spMkLst>
            <pc:docMk/>
            <pc:sldMk cId="1872906630" sldId="3528"/>
            <ac:spMk id="106" creationId="{D5D85EC2-9888-4426-A680-33A4D407FDE1}"/>
          </ac:spMkLst>
        </pc:spChg>
        <pc:spChg chg="del">
          <ac:chgData name="Ojas Rajpal" userId="51f5808b-b899-4853-a9c1-d0f056bcd62b" providerId="ADAL" clId="{6D74ED87-DB79-4CAF-BA45-025B60DFCFBD}" dt="2022-03-30T08:26:38.821" v="2348" actId="478"/>
          <ac:spMkLst>
            <pc:docMk/>
            <pc:sldMk cId="1872906630" sldId="3528"/>
            <ac:spMk id="107" creationId="{6B4A50B7-CFEE-461E-9E08-5B5E385476F1}"/>
          </ac:spMkLst>
        </pc:spChg>
        <pc:spChg chg="del">
          <ac:chgData name="Ojas Rajpal" userId="51f5808b-b899-4853-a9c1-d0f056bcd62b" providerId="ADAL" clId="{6D74ED87-DB79-4CAF-BA45-025B60DFCFBD}" dt="2022-03-30T08:26:38.821" v="2348" actId="478"/>
          <ac:spMkLst>
            <pc:docMk/>
            <pc:sldMk cId="1872906630" sldId="3528"/>
            <ac:spMk id="108" creationId="{53FB31EE-1057-43E3-B832-01AB20F878EE}"/>
          </ac:spMkLst>
        </pc:spChg>
        <pc:spChg chg="del">
          <ac:chgData name="Ojas Rajpal" userId="51f5808b-b899-4853-a9c1-d0f056bcd62b" providerId="ADAL" clId="{6D74ED87-DB79-4CAF-BA45-025B60DFCFBD}" dt="2022-03-30T08:26:38.821" v="2348" actId="478"/>
          <ac:spMkLst>
            <pc:docMk/>
            <pc:sldMk cId="1872906630" sldId="3528"/>
            <ac:spMk id="109" creationId="{50FDB50E-03EC-4618-9F37-21CE4FAFA815}"/>
          </ac:spMkLst>
        </pc:spChg>
        <pc:spChg chg="del">
          <ac:chgData name="Ojas Rajpal" userId="51f5808b-b899-4853-a9c1-d0f056bcd62b" providerId="ADAL" clId="{6D74ED87-DB79-4CAF-BA45-025B60DFCFBD}" dt="2022-03-30T08:26:38.821" v="2348" actId="478"/>
          <ac:spMkLst>
            <pc:docMk/>
            <pc:sldMk cId="1872906630" sldId="3528"/>
            <ac:spMk id="110" creationId="{710CDD61-FFEB-465D-AC78-1DBDF241C229}"/>
          </ac:spMkLst>
        </pc:spChg>
        <pc:spChg chg="del">
          <ac:chgData name="Ojas Rajpal" userId="51f5808b-b899-4853-a9c1-d0f056bcd62b" providerId="ADAL" clId="{6D74ED87-DB79-4CAF-BA45-025B60DFCFBD}" dt="2022-03-30T08:26:38.821" v="2348" actId="478"/>
          <ac:spMkLst>
            <pc:docMk/>
            <pc:sldMk cId="1872906630" sldId="3528"/>
            <ac:spMk id="111" creationId="{FCA96B29-2297-4183-8654-FA134CD3E957}"/>
          </ac:spMkLst>
        </pc:spChg>
        <pc:spChg chg="del">
          <ac:chgData name="Ojas Rajpal" userId="51f5808b-b899-4853-a9c1-d0f056bcd62b" providerId="ADAL" clId="{6D74ED87-DB79-4CAF-BA45-025B60DFCFBD}" dt="2022-03-30T08:26:38.821" v="2348" actId="478"/>
          <ac:spMkLst>
            <pc:docMk/>
            <pc:sldMk cId="1872906630" sldId="3528"/>
            <ac:spMk id="139" creationId="{F8827DB6-DAE4-426A-96CF-3BA2C5364F19}"/>
          </ac:spMkLst>
        </pc:spChg>
        <pc:spChg chg="del">
          <ac:chgData name="Ojas Rajpal" userId="51f5808b-b899-4853-a9c1-d0f056bcd62b" providerId="ADAL" clId="{6D74ED87-DB79-4CAF-BA45-025B60DFCFBD}" dt="2022-03-30T08:26:38.821" v="2348" actId="478"/>
          <ac:spMkLst>
            <pc:docMk/>
            <pc:sldMk cId="1872906630" sldId="3528"/>
            <ac:spMk id="147" creationId="{F130E015-D4F4-47C8-9681-0E4E0FDF4A0D}"/>
          </ac:spMkLst>
        </pc:spChg>
        <pc:spChg chg="del">
          <ac:chgData name="Ojas Rajpal" userId="51f5808b-b899-4853-a9c1-d0f056bcd62b" providerId="ADAL" clId="{6D74ED87-DB79-4CAF-BA45-025B60DFCFBD}" dt="2022-03-30T08:26:38.821" v="2348" actId="478"/>
          <ac:spMkLst>
            <pc:docMk/>
            <pc:sldMk cId="1872906630" sldId="3528"/>
            <ac:spMk id="148" creationId="{B2B7C211-AFCD-4EAD-AAB2-F1C0191219F0}"/>
          </ac:spMkLst>
        </pc:spChg>
        <pc:spChg chg="del">
          <ac:chgData name="Ojas Rajpal" userId="51f5808b-b899-4853-a9c1-d0f056bcd62b" providerId="ADAL" clId="{6D74ED87-DB79-4CAF-BA45-025B60DFCFBD}" dt="2022-03-30T08:26:38.821" v="2348" actId="478"/>
          <ac:spMkLst>
            <pc:docMk/>
            <pc:sldMk cId="1872906630" sldId="3528"/>
            <ac:spMk id="149" creationId="{4C4D49F8-5E79-4C34-B346-B8C68A609AF0}"/>
          </ac:spMkLst>
        </pc:spChg>
        <pc:spChg chg="del">
          <ac:chgData name="Ojas Rajpal" userId="51f5808b-b899-4853-a9c1-d0f056bcd62b" providerId="ADAL" clId="{6D74ED87-DB79-4CAF-BA45-025B60DFCFBD}" dt="2022-03-30T08:26:38.821" v="2348" actId="478"/>
          <ac:spMkLst>
            <pc:docMk/>
            <pc:sldMk cId="1872906630" sldId="3528"/>
            <ac:spMk id="150" creationId="{48B833D2-CB66-4D2F-9979-84E55527D902}"/>
          </ac:spMkLst>
        </pc:spChg>
        <pc:spChg chg="del">
          <ac:chgData name="Ojas Rajpal" userId="51f5808b-b899-4853-a9c1-d0f056bcd62b" providerId="ADAL" clId="{6D74ED87-DB79-4CAF-BA45-025B60DFCFBD}" dt="2022-03-30T08:26:38.821" v="2348" actId="478"/>
          <ac:spMkLst>
            <pc:docMk/>
            <pc:sldMk cId="1872906630" sldId="3528"/>
            <ac:spMk id="151" creationId="{08D9FB67-7359-43E3-AD6E-5DB9F21CF322}"/>
          </ac:spMkLst>
        </pc:spChg>
        <pc:spChg chg="del">
          <ac:chgData name="Ojas Rajpal" userId="51f5808b-b899-4853-a9c1-d0f056bcd62b" providerId="ADAL" clId="{6D74ED87-DB79-4CAF-BA45-025B60DFCFBD}" dt="2022-03-30T08:26:38.821" v="2348" actId="478"/>
          <ac:spMkLst>
            <pc:docMk/>
            <pc:sldMk cId="1872906630" sldId="3528"/>
            <ac:spMk id="152" creationId="{84A357B6-67D0-43B8-9C45-52B66F5AD7ED}"/>
          </ac:spMkLst>
        </pc:spChg>
        <pc:spChg chg="del">
          <ac:chgData name="Ojas Rajpal" userId="51f5808b-b899-4853-a9c1-d0f056bcd62b" providerId="ADAL" clId="{6D74ED87-DB79-4CAF-BA45-025B60DFCFBD}" dt="2022-03-30T08:26:38.821" v="2348" actId="478"/>
          <ac:spMkLst>
            <pc:docMk/>
            <pc:sldMk cId="1872906630" sldId="3528"/>
            <ac:spMk id="153" creationId="{4A489ED3-84B6-4F58-AACE-EB60D5EE3824}"/>
          </ac:spMkLst>
        </pc:spChg>
        <pc:spChg chg="del">
          <ac:chgData name="Ojas Rajpal" userId="51f5808b-b899-4853-a9c1-d0f056bcd62b" providerId="ADAL" clId="{6D74ED87-DB79-4CAF-BA45-025B60DFCFBD}" dt="2022-03-30T08:26:38.821" v="2348" actId="478"/>
          <ac:spMkLst>
            <pc:docMk/>
            <pc:sldMk cId="1872906630" sldId="3528"/>
            <ac:spMk id="155" creationId="{AB01967E-1E9A-4553-B610-F99CC6B55415}"/>
          </ac:spMkLst>
        </pc:spChg>
        <pc:spChg chg="del">
          <ac:chgData name="Ojas Rajpal" userId="51f5808b-b899-4853-a9c1-d0f056bcd62b" providerId="ADAL" clId="{6D74ED87-DB79-4CAF-BA45-025B60DFCFBD}" dt="2022-03-30T08:26:38.821" v="2348" actId="478"/>
          <ac:spMkLst>
            <pc:docMk/>
            <pc:sldMk cId="1872906630" sldId="3528"/>
            <ac:spMk id="157" creationId="{D829B5A9-6024-49A5-9398-F643FA96CDE7}"/>
          </ac:spMkLst>
        </pc:spChg>
        <pc:spChg chg="del">
          <ac:chgData name="Ojas Rajpal" userId="51f5808b-b899-4853-a9c1-d0f056bcd62b" providerId="ADAL" clId="{6D74ED87-DB79-4CAF-BA45-025B60DFCFBD}" dt="2022-03-30T08:26:38.821" v="2348" actId="478"/>
          <ac:spMkLst>
            <pc:docMk/>
            <pc:sldMk cId="1872906630" sldId="3528"/>
            <ac:spMk id="158" creationId="{EC8AFC0B-4C6A-4515-8145-B90D9517F213}"/>
          </ac:spMkLst>
        </pc:spChg>
        <pc:spChg chg="del">
          <ac:chgData name="Ojas Rajpal" userId="51f5808b-b899-4853-a9c1-d0f056bcd62b" providerId="ADAL" clId="{6D74ED87-DB79-4CAF-BA45-025B60DFCFBD}" dt="2022-03-30T08:26:38.821" v="2348" actId="478"/>
          <ac:spMkLst>
            <pc:docMk/>
            <pc:sldMk cId="1872906630" sldId="3528"/>
            <ac:spMk id="159" creationId="{BCDC93B5-0965-410D-B531-57259163C6B4}"/>
          </ac:spMkLst>
        </pc:spChg>
        <pc:spChg chg="del">
          <ac:chgData name="Ojas Rajpal" userId="51f5808b-b899-4853-a9c1-d0f056bcd62b" providerId="ADAL" clId="{6D74ED87-DB79-4CAF-BA45-025B60DFCFBD}" dt="2022-03-30T08:26:38.821" v="2348" actId="478"/>
          <ac:spMkLst>
            <pc:docMk/>
            <pc:sldMk cId="1872906630" sldId="3528"/>
            <ac:spMk id="160" creationId="{52BDF634-3CD5-4A8C-9927-DF0D58DF9819}"/>
          </ac:spMkLst>
        </pc:spChg>
        <pc:spChg chg="del">
          <ac:chgData name="Ojas Rajpal" userId="51f5808b-b899-4853-a9c1-d0f056bcd62b" providerId="ADAL" clId="{6D74ED87-DB79-4CAF-BA45-025B60DFCFBD}" dt="2022-03-30T08:26:38.821" v="2348" actId="478"/>
          <ac:spMkLst>
            <pc:docMk/>
            <pc:sldMk cId="1872906630" sldId="3528"/>
            <ac:spMk id="161" creationId="{1CB9C4EA-9C7D-4DE4-A141-A3CB1DC2B575}"/>
          </ac:spMkLst>
        </pc:spChg>
        <pc:spChg chg="del">
          <ac:chgData name="Ojas Rajpal" userId="51f5808b-b899-4853-a9c1-d0f056bcd62b" providerId="ADAL" clId="{6D74ED87-DB79-4CAF-BA45-025B60DFCFBD}" dt="2022-03-30T08:26:38.821" v="2348" actId="478"/>
          <ac:spMkLst>
            <pc:docMk/>
            <pc:sldMk cId="1872906630" sldId="3528"/>
            <ac:spMk id="162" creationId="{9E1642FA-00B8-4789-9154-4F52E3DEB52C}"/>
          </ac:spMkLst>
        </pc:spChg>
        <pc:spChg chg="del">
          <ac:chgData name="Ojas Rajpal" userId="51f5808b-b899-4853-a9c1-d0f056bcd62b" providerId="ADAL" clId="{6D74ED87-DB79-4CAF-BA45-025B60DFCFBD}" dt="2022-03-30T08:26:38.821" v="2348" actId="478"/>
          <ac:spMkLst>
            <pc:docMk/>
            <pc:sldMk cId="1872906630" sldId="3528"/>
            <ac:spMk id="163" creationId="{B51245D8-4A6F-4C36-95CC-8A575FAF324F}"/>
          </ac:spMkLst>
        </pc:spChg>
        <pc:spChg chg="del">
          <ac:chgData name="Ojas Rajpal" userId="51f5808b-b899-4853-a9c1-d0f056bcd62b" providerId="ADAL" clId="{6D74ED87-DB79-4CAF-BA45-025B60DFCFBD}" dt="2022-03-30T08:26:38.821" v="2348" actId="478"/>
          <ac:spMkLst>
            <pc:docMk/>
            <pc:sldMk cId="1872906630" sldId="3528"/>
            <ac:spMk id="164" creationId="{963A5DBC-AD48-4D50-B831-D091582C2BEF}"/>
          </ac:spMkLst>
        </pc:spChg>
        <pc:spChg chg="del">
          <ac:chgData name="Ojas Rajpal" userId="51f5808b-b899-4853-a9c1-d0f056bcd62b" providerId="ADAL" clId="{6D74ED87-DB79-4CAF-BA45-025B60DFCFBD}" dt="2022-03-30T08:26:38.821" v="2348" actId="478"/>
          <ac:spMkLst>
            <pc:docMk/>
            <pc:sldMk cId="1872906630" sldId="3528"/>
            <ac:spMk id="166" creationId="{3EAF428D-C868-4715-B122-652804582FB9}"/>
          </ac:spMkLst>
        </pc:spChg>
        <pc:spChg chg="del">
          <ac:chgData name="Ojas Rajpal" userId="51f5808b-b899-4853-a9c1-d0f056bcd62b" providerId="ADAL" clId="{6D74ED87-DB79-4CAF-BA45-025B60DFCFBD}" dt="2022-03-30T08:26:38.821" v="2348" actId="478"/>
          <ac:spMkLst>
            <pc:docMk/>
            <pc:sldMk cId="1872906630" sldId="3528"/>
            <ac:spMk id="167" creationId="{7B348D76-8E77-4FB1-948D-B3B119147079}"/>
          </ac:spMkLst>
        </pc:spChg>
        <pc:spChg chg="del">
          <ac:chgData name="Ojas Rajpal" userId="51f5808b-b899-4853-a9c1-d0f056bcd62b" providerId="ADAL" clId="{6D74ED87-DB79-4CAF-BA45-025B60DFCFBD}" dt="2022-03-30T08:26:38.821" v="2348" actId="478"/>
          <ac:spMkLst>
            <pc:docMk/>
            <pc:sldMk cId="1872906630" sldId="3528"/>
            <ac:spMk id="168" creationId="{8AC1C014-B345-441C-AB86-27106F1B3D84}"/>
          </ac:spMkLst>
        </pc:spChg>
        <pc:spChg chg="del">
          <ac:chgData name="Ojas Rajpal" userId="51f5808b-b899-4853-a9c1-d0f056bcd62b" providerId="ADAL" clId="{6D74ED87-DB79-4CAF-BA45-025B60DFCFBD}" dt="2022-03-30T08:26:38.821" v="2348" actId="478"/>
          <ac:spMkLst>
            <pc:docMk/>
            <pc:sldMk cId="1872906630" sldId="3528"/>
            <ac:spMk id="169" creationId="{48935F6A-AADD-4B2F-90BD-D61D625B5740}"/>
          </ac:spMkLst>
        </pc:spChg>
        <pc:spChg chg="del">
          <ac:chgData name="Ojas Rajpal" userId="51f5808b-b899-4853-a9c1-d0f056bcd62b" providerId="ADAL" clId="{6D74ED87-DB79-4CAF-BA45-025B60DFCFBD}" dt="2022-03-30T08:26:38.821" v="2348" actId="478"/>
          <ac:spMkLst>
            <pc:docMk/>
            <pc:sldMk cId="1872906630" sldId="3528"/>
            <ac:spMk id="170" creationId="{3E7537DE-EABD-4E99-B205-C769DF8DA122}"/>
          </ac:spMkLst>
        </pc:spChg>
        <pc:spChg chg="del">
          <ac:chgData name="Ojas Rajpal" userId="51f5808b-b899-4853-a9c1-d0f056bcd62b" providerId="ADAL" clId="{6D74ED87-DB79-4CAF-BA45-025B60DFCFBD}" dt="2022-03-30T08:26:38.821" v="2348" actId="478"/>
          <ac:spMkLst>
            <pc:docMk/>
            <pc:sldMk cId="1872906630" sldId="3528"/>
            <ac:spMk id="171" creationId="{CED192F6-25DB-4ADD-B30B-367CD1B9F6A8}"/>
          </ac:spMkLst>
        </pc:spChg>
        <pc:spChg chg="del">
          <ac:chgData name="Ojas Rajpal" userId="51f5808b-b899-4853-a9c1-d0f056bcd62b" providerId="ADAL" clId="{6D74ED87-DB79-4CAF-BA45-025B60DFCFBD}" dt="2022-03-30T08:26:38.821" v="2348" actId="478"/>
          <ac:spMkLst>
            <pc:docMk/>
            <pc:sldMk cId="1872906630" sldId="3528"/>
            <ac:spMk id="172" creationId="{DD4ECBE3-1BC1-4D33-B854-F3A354E28338}"/>
          </ac:spMkLst>
        </pc:spChg>
        <pc:spChg chg="del">
          <ac:chgData name="Ojas Rajpal" userId="51f5808b-b899-4853-a9c1-d0f056bcd62b" providerId="ADAL" clId="{6D74ED87-DB79-4CAF-BA45-025B60DFCFBD}" dt="2022-03-30T08:26:38.821" v="2348" actId="478"/>
          <ac:spMkLst>
            <pc:docMk/>
            <pc:sldMk cId="1872906630" sldId="3528"/>
            <ac:spMk id="173" creationId="{9E24CA0D-2361-4835-972A-2CFF63B5C580}"/>
          </ac:spMkLst>
        </pc:spChg>
        <pc:spChg chg="del">
          <ac:chgData name="Ojas Rajpal" userId="51f5808b-b899-4853-a9c1-d0f056bcd62b" providerId="ADAL" clId="{6D74ED87-DB79-4CAF-BA45-025B60DFCFBD}" dt="2022-03-30T08:26:38.821" v="2348" actId="478"/>
          <ac:spMkLst>
            <pc:docMk/>
            <pc:sldMk cId="1872906630" sldId="3528"/>
            <ac:spMk id="175" creationId="{7144CAF1-A193-4C07-B43C-E3B713F4968C}"/>
          </ac:spMkLst>
        </pc:spChg>
        <pc:spChg chg="del">
          <ac:chgData name="Ojas Rajpal" userId="51f5808b-b899-4853-a9c1-d0f056bcd62b" providerId="ADAL" clId="{6D74ED87-DB79-4CAF-BA45-025B60DFCFBD}" dt="2022-03-30T08:26:38.821" v="2348" actId="478"/>
          <ac:spMkLst>
            <pc:docMk/>
            <pc:sldMk cId="1872906630" sldId="3528"/>
            <ac:spMk id="176" creationId="{0A9552FD-BD8D-4340-A110-04B5C2EDBD14}"/>
          </ac:spMkLst>
        </pc:spChg>
        <pc:spChg chg="del">
          <ac:chgData name="Ojas Rajpal" userId="51f5808b-b899-4853-a9c1-d0f056bcd62b" providerId="ADAL" clId="{6D74ED87-DB79-4CAF-BA45-025B60DFCFBD}" dt="2022-03-30T08:26:38.821" v="2348" actId="478"/>
          <ac:spMkLst>
            <pc:docMk/>
            <pc:sldMk cId="1872906630" sldId="3528"/>
            <ac:spMk id="177" creationId="{57E8A2AF-17B1-467E-9EE3-9DE338E0C297}"/>
          </ac:spMkLst>
        </pc:spChg>
        <pc:spChg chg="del">
          <ac:chgData name="Ojas Rajpal" userId="51f5808b-b899-4853-a9c1-d0f056bcd62b" providerId="ADAL" clId="{6D74ED87-DB79-4CAF-BA45-025B60DFCFBD}" dt="2022-03-30T08:26:38.821" v="2348" actId="478"/>
          <ac:spMkLst>
            <pc:docMk/>
            <pc:sldMk cId="1872906630" sldId="3528"/>
            <ac:spMk id="178" creationId="{66E78875-9F14-4740-A5CA-DE741E5EE5C2}"/>
          </ac:spMkLst>
        </pc:spChg>
        <pc:spChg chg="del">
          <ac:chgData name="Ojas Rajpal" userId="51f5808b-b899-4853-a9c1-d0f056bcd62b" providerId="ADAL" clId="{6D74ED87-DB79-4CAF-BA45-025B60DFCFBD}" dt="2022-03-30T08:26:38.821" v="2348" actId="478"/>
          <ac:spMkLst>
            <pc:docMk/>
            <pc:sldMk cId="1872906630" sldId="3528"/>
            <ac:spMk id="179" creationId="{9A11D8CF-F752-4D67-88E8-49E0AF6E21CB}"/>
          </ac:spMkLst>
        </pc:spChg>
        <pc:spChg chg="del">
          <ac:chgData name="Ojas Rajpal" userId="51f5808b-b899-4853-a9c1-d0f056bcd62b" providerId="ADAL" clId="{6D74ED87-DB79-4CAF-BA45-025B60DFCFBD}" dt="2022-03-30T08:26:38.821" v="2348" actId="478"/>
          <ac:spMkLst>
            <pc:docMk/>
            <pc:sldMk cId="1872906630" sldId="3528"/>
            <ac:spMk id="180" creationId="{FBCA7F28-C336-4DE4-A9DD-AE0AAF5BE987}"/>
          </ac:spMkLst>
        </pc:spChg>
        <pc:spChg chg="del">
          <ac:chgData name="Ojas Rajpal" userId="51f5808b-b899-4853-a9c1-d0f056bcd62b" providerId="ADAL" clId="{6D74ED87-DB79-4CAF-BA45-025B60DFCFBD}" dt="2022-03-30T08:26:38.821" v="2348" actId="478"/>
          <ac:spMkLst>
            <pc:docMk/>
            <pc:sldMk cId="1872906630" sldId="3528"/>
            <ac:spMk id="181" creationId="{C132BA64-BC7F-43CF-8C15-A3C743817CD2}"/>
          </ac:spMkLst>
        </pc:spChg>
        <pc:spChg chg="del">
          <ac:chgData name="Ojas Rajpal" userId="51f5808b-b899-4853-a9c1-d0f056bcd62b" providerId="ADAL" clId="{6D74ED87-DB79-4CAF-BA45-025B60DFCFBD}" dt="2022-03-30T08:26:38.821" v="2348" actId="478"/>
          <ac:spMkLst>
            <pc:docMk/>
            <pc:sldMk cId="1872906630" sldId="3528"/>
            <ac:spMk id="182" creationId="{4FE9C039-EABC-47C1-A25F-1F5042595D21}"/>
          </ac:spMkLst>
        </pc:spChg>
        <pc:spChg chg="del">
          <ac:chgData name="Ojas Rajpal" userId="51f5808b-b899-4853-a9c1-d0f056bcd62b" providerId="ADAL" clId="{6D74ED87-DB79-4CAF-BA45-025B60DFCFBD}" dt="2022-03-30T08:26:38.821" v="2348" actId="478"/>
          <ac:spMkLst>
            <pc:docMk/>
            <pc:sldMk cId="1872906630" sldId="3528"/>
            <ac:spMk id="184" creationId="{7B765B05-919E-4873-B467-17B0E16F557E}"/>
          </ac:spMkLst>
        </pc:spChg>
        <pc:spChg chg="del">
          <ac:chgData name="Ojas Rajpal" userId="51f5808b-b899-4853-a9c1-d0f056bcd62b" providerId="ADAL" clId="{6D74ED87-DB79-4CAF-BA45-025B60DFCFBD}" dt="2022-03-30T08:26:38.821" v="2348" actId="478"/>
          <ac:spMkLst>
            <pc:docMk/>
            <pc:sldMk cId="1872906630" sldId="3528"/>
            <ac:spMk id="185" creationId="{83E958BB-7C5E-41E1-A2E8-91E6EB28C9E2}"/>
          </ac:spMkLst>
        </pc:spChg>
        <pc:spChg chg="del">
          <ac:chgData name="Ojas Rajpal" userId="51f5808b-b899-4853-a9c1-d0f056bcd62b" providerId="ADAL" clId="{6D74ED87-DB79-4CAF-BA45-025B60DFCFBD}" dt="2022-03-30T08:26:38.821" v="2348" actId="478"/>
          <ac:spMkLst>
            <pc:docMk/>
            <pc:sldMk cId="1872906630" sldId="3528"/>
            <ac:spMk id="186" creationId="{5A9D8EC3-12CC-46B2-8960-AE7E879181C1}"/>
          </ac:spMkLst>
        </pc:spChg>
        <pc:spChg chg="del">
          <ac:chgData name="Ojas Rajpal" userId="51f5808b-b899-4853-a9c1-d0f056bcd62b" providerId="ADAL" clId="{6D74ED87-DB79-4CAF-BA45-025B60DFCFBD}" dt="2022-03-30T08:26:38.821" v="2348" actId="478"/>
          <ac:spMkLst>
            <pc:docMk/>
            <pc:sldMk cId="1872906630" sldId="3528"/>
            <ac:spMk id="187" creationId="{11B64D50-366E-49DD-A4A9-D7F565A8D459}"/>
          </ac:spMkLst>
        </pc:spChg>
        <pc:spChg chg="del">
          <ac:chgData name="Ojas Rajpal" userId="51f5808b-b899-4853-a9c1-d0f056bcd62b" providerId="ADAL" clId="{6D74ED87-DB79-4CAF-BA45-025B60DFCFBD}" dt="2022-03-30T08:26:38.821" v="2348" actId="478"/>
          <ac:spMkLst>
            <pc:docMk/>
            <pc:sldMk cId="1872906630" sldId="3528"/>
            <ac:spMk id="188" creationId="{99381D26-E1BC-4D2B-A3BB-58872EF6EDC1}"/>
          </ac:spMkLst>
        </pc:spChg>
        <pc:spChg chg="del">
          <ac:chgData name="Ojas Rajpal" userId="51f5808b-b899-4853-a9c1-d0f056bcd62b" providerId="ADAL" clId="{6D74ED87-DB79-4CAF-BA45-025B60DFCFBD}" dt="2022-03-30T08:26:38.821" v="2348" actId="478"/>
          <ac:spMkLst>
            <pc:docMk/>
            <pc:sldMk cId="1872906630" sldId="3528"/>
            <ac:spMk id="189" creationId="{BD6ACA66-3D75-459F-8862-C07F7E21B453}"/>
          </ac:spMkLst>
        </pc:spChg>
        <pc:spChg chg="del">
          <ac:chgData name="Ojas Rajpal" userId="51f5808b-b899-4853-a9c1-d0f056bcd62b" providerId="ADAL" clId="{6D74ED87-DB79-4CAF-BA45-025B60DFCFBD}" dt="2022-03-30T08:26:38.821" v="2348" actId="478"/>
          <ac:spMkLst>
            <pc:docMk/>
            <pc:sldMk cId="1872906630" sldId="3528"/>
            <ac:spMk id="190" creationId="{AC83FF06-3433-4D66-8F81-66BB16D3A104}"/>
          </ac:spMkLst>
        </pc:spChg>
        <pc:spChg chg="del">
          <ac:chgData name="Ojas Rajpal" userId="51f5808b-b899-4853-a9c1-d0f056bcd62b" providerId="ADAL" clId="{6D74ED87-DB79-4CAF-BA45-025B60DFCFBD}" dt="2022-03-30T08:26:38.821" v="2348" actId="478"/>
          <ac:spMkLst>
            <pc:docMk/>
            <pc:sldMk cId="1872906630" sldId="3528"/>
            <ac:spMk id="191" creationId="{335A7680-579B-4FD5-B7AA-9F249AA31425}"/>
          </ac:spMkLst>
        </pc:spChg>
        <pc:spChg chg="del">
          <ac:chgData name="Ojas Rajpal" userId="51f5808b-b899-4853-a9c1-d0f056bcd62b" providerId="ADAL" clId="{6D74ED87-DB79-4CAF-BA45-025B60DFCFBD}" dt="2022-03-30T08:26:38.821" v="2348" actId="478"/>
          <ac:spMkLst>
            <pc:docMk/>
            <pc:sldMk cId="1872906630" sldId="3528"/>
            <ac:spMk id="193" creationId="{BE551AFA-EF71-4BAC-ADD0-A407B2AC3A58}"/>
          </ac:spMkLst>
        </pc:spChg>
        <pc:spChg chg="del">
          <ac:chgData name="Ojas Rajpal" userId="51f5808b-b899-4853-a9c1-d0f056bcd62b" providerId="ADAL" clId="{6D74ED87-DB79-4CAF-BA45-025B60DFCFBD}" dt="2022-03-30T08:26:38.821" v="2348" actId="478"/>
          <ac:spMkLst>
            <pc:docMk/>
            <pc:sldMk cId="1872906630" sldId="3528"/>
            <ac:spMk id="194" creationId="{864AB59C-9A6D-468C-9393-D5062F656A0F}"/>
          </ac:spMkLst>
        </pc:spChg>
        <pc:spChg chg="del">
          <ac:chgData name="Ojas Rajpal" userId="51f5808b-b899-4853-a9c1-d0f056bcd62b" providerId="ADAL" clId="{6D74ED87-DB79-4CAF-BA45-025B60DFCFBD}" dt="2022-03-30T08:26:38.821" v="2348" actId="478"/>
          <ac:spMkLst>
            <pc:docMk/>
            <pc:sldMk cId="1872906630" sldId="3528"/>
            <ac:spMk id="195" creationId="{936FEC0C-EEBF-4657-BC06-F8EAE72D3EE9}"/>
          </ac:spMkLst>
        </pc:spChg>
        <pc:spChg chg="del">
          <ac:chgData name="Ojas Rajpal" userId="51f5808b-b899-4853-a9c1-d0f056bcd62b" providerId="ADAL" clId="{6D74ED87-DB79-4CAF-BA45-025B60DFCFBD}" dt="2022-03-30T08:26:38.821" v="2348" actId="478"/>
          <ac:spMkLst>
            <pc:docMk/>
            <pc:sldMk cId="1872906630" sldId="3528"/>
            <ac:spMk id="196" creationId="{8F86CA3C-A46C-42E7-92EA-343C3A09A3B6}"/>
          </ac:spMkLst>
        </pc:spChg>
        <pc:spChg chg="del">
          <ac:chgData name="Ojas Rajpal" userId="51f5808b-b899-4853-a9c1-d0f056bcd62b" providerId="ADAL" clId="{6D74ED87-DB79-4CAF-BA45-025B60DFCFBD}" dt="2022-03-30T08:26:38.821" v="2348" actId="478"/>
          <ac:spMkLst>
            <pc:docMk/>
            <pc:sldMk cId="1872906630" sldId="3528"/>
            <ac:spMk id="197" creationId="{F71DBDB4-D422-4C2F-A86C-D005E49FE755}"/>
          </ac:spMkLst>
        </pc:spChg>
        <pc:spChg chg="del">
          <ac:chgData name="Ojas Rajpal" userId="51f5808b-b899-4853-a9c1-d0f056bcd62b" providerId="ADAL" clId="{6D74ED87-DB79-4CAF-BA45-025B60DFCFBD}" dt="2022-03-30T08:26:38.821" v="2348" actId="478"/>
          <ac:spMkLst>
            <pc:docMk/>
            <pc:sldMk cId="1872906630" sldId="3528"/>
            <ac:spMk id="198" creationId="{4CED1423-F19E-426E-B54B-5DF722DB10E5}"/>
          </ac:spMkLst>
        </pc:spChg>
        <pc:spChg chg="del">
          <ac:chgData name="Ojas Rajpal" userId="51f5808b-b899-4853-a9c1-d0f056bcd62b" providerId="ADAL" clId="{6D74ED87-DB79-4CAF-BA45-025B60DFCFBD}" dt="2022-03-30T08:26:38.821" v="2348" actId="478"/>
          <ac:spMkLst>
            <pc:docMk/>
            <pc:sldMk cId="1872906630" sldId="3528"/>
            <ac:spMk id="199" creationId="{AF9520D3-4BFA-49F5-BF7A-004E0F93641F}"/>
          </ac:spMkLst>
        </pc:spChg>
        <pc:spChg chg="del">
          <ac:chgData name="Ojas Rajpal" userId="51f5808b-b899-4853-a9c1-d0f056bcd62b" providerId="ADAL" clId="{6D74ED87-DB79-4CAF-BA45-025B60DFCFBD}" dt="2022-03-30T08:04:38.960" v="812" actId="478"/>
          <ac:spMkLst>
            <pc:docMk/>
            <pc:sldMk cId="1872906630" sldId="3528"/>
            <ac:spMk id="203" creationId="{40E13511-6541-4A59-B8C8-51DA1E02911F}"/>
          </ac:spMkLst>
        </pc:spChg>
        <pc:spChg chg="mod">
          <ac:chgData name="Ojas Rajpal" userId="51f5808b-b899-4853-a9c1-d0f056bcd62b" providerId="ADAL" clId="{6D74ED87-DB79-4CAF-BA45-025B60DFCFBD}" dt="2022-03-30T07:57:10.690" v="773" actId="14100"/>
          <ac:spMkLst>
            <pc:docMk/>
            <pc:sldMk cId="1872906630" sldId="3528"/>
            <ac:spMk id="212" creationId="{6FAD7A99-B65C-462C-80BA-7585E9555B0A}"/>
          </ac:spMkLst>
        </pc:spChg>
        <pc:spChg chg="mod">
          <ac:chgData name="Ojas Rajpal" userId="51f5808b-b899-4853-a9c1-d0f056bcd62b" providerId="ADAL" clId="{6D74ED87-DB79-4CAF-BA45-025B60DFCFBD}" dt="2022-03-30T07:57:10.690" v="773" actId="14100"/>
          <ac:spMkLst>
            <pc:docMk/>
            <pc:sldMk cId="1872906630" sldId="3528"/>
            <ac:spMk id="213" creationId="{2DED9C52-AD9E-409B-9F52-15A3DBB53587}"/>
          </ac:spMkLst>
        </pc:spChg>
        <pc:spChg chg="mod">
          <ac:chgData name="Ojas Rajpal" userId="51f5808b-b899-4853-a9c1-d0f056bcd62b" providerId="ADAL" clId="{6D74ED87-DB79-4CAF-BA45-025B60DFCFBD}" dt="2022-03-30T07:57:10.690" v="773" actId="14100"/>
          <ac:spMkLst>
            <pc:docMk/>
            <pc:sldMk cId="1872906630" sldId="3528"/>
            <ac:spMk id="214" creationId="{64C8D582-8DCC-46A2-9C46-804921DFD01F}"/>
          </ac:spMkLst>
        </pc:spChg>
        <pc:spChg chg="mod">
          <ac:chgData name="Ojas Rajpal" userId="51f5808b-b899-4853-a9c1-d0f056bcd62b" providerId="ADAL" clId="{6D74ED87-DB79-4CAF-BA45-025B60DFCFBD}" dt="2022-03-30T07:57:10.690" v="773" actId="14100"/>
          <ac:spMkLst>
            <pc:docMk/>
            <pc:sldMk cId="1872906630" sldId="3528"/>
            <ac:spMk id="215" creationId="{FC100405-E333-450B-AB4E-F923886CDA87}"/>
          </ac:spMkLst>
        </pc:spChg>
        <pc:spChg chg="mod">
          <ac:chgData name="Ojas Rajpal" userId="51f5808b-b899-4853-a9c1-d0f056bcd62b" providerId="ADAL" clId="{6D74ED87-DB79-4CAF-BA45-025B60DFCFBD}" dt="2022-03-30T07:57:10.690" v="773" actId="14100"/>
          <ac:spMkLst>
            <pc:docMk/>
            <pc:sldMk cId="1872906630" sldId="3528"/>
            <ac:spMk id="216" creationId="{5E5D8C54-ED92-4D23-A626-DEB1CCA9CDCF}"/>
          </ac:spMkLst>
        </pc:spChg>
        <pc:spChg chg="mod">
          <ac:chgData name="Ojas Rajpal" userId="51f5808b-b899-4853-a9c1-d0f056bcd62b" providerId="ADAL" clId="{6D74ED87-DB79-4CAF-BA45-025B60DFCFBD}" dt="2022-03-30T07:57:10.690" v="773" actId="14100"/>
          <ac:spMkLst>
            <pc:docMk/>
            <pc:sldMk cId="1872906630" sldId="3528"/>
            <ac:spMk id="217" creationId="{2EC3AB22-CE27-4E29-A370-4396AE4CBAAF}"/>
          </ac:spMkLst>
        </pc:spChg>
        <pc:spChg chg="mod">
          <ac:chgData name="Ojas Rajpal" userId="51f5808b-b899-4853-a9c1-d0f056bcd62b" providerId="ADAL" clId="{6D74ED87-DB79-4CAF-BA45-025B60DFCFBD}" dt="2022-03-30T07:57:10.690" v="773" actId="14100"/>
          <ac:spMkLst>
            <pc:docMk/>
            <pc:sldMk cId="1872906630" sldId="3528"/>
            <ac:spMk id="218" creationId="{0FACE2B1-66AB-4E65-B0BB-34B63471EA5F}"/>
          </ac:spMkLst>
        </pc:spChg>
        <pc:spChg chg="mod">
          <ac:chgData name="Ojas Rajpal" userId="51f5808b-b899-4853-a9c1-d0f056bcd62b" providerId="ADAL" clId="{6D74ED87-DB79-4CAF-BA45-025B60DFCFBD}" dt="2022-03-30T07:57:10.690" v="773" actId="14100"/>
          <ac:spMkLst>
            <pc:docMk/>
            <pc:sldMk cId="1872906630" sldId="3528"/>
            <ac:spMk id="223" creationId="{0305576C-7DAF-4886-971F-5DFE0420D4C6}"/>
          </ac:spMkLst>
        </pc:spChg>
        <pc:spChg chg="mod">
          <ac:chgData name="Ojas Rajpal" userId="51f5808b-b899-4853-a9c1-d0f056bcd62b" providerId="ADAL" clId="{6D74ED87-DB79-4CAF-BA45-025B60DFCFBD}" dt="2022-03-30T07:57:10.690" v="773" actId="14100"/>
          <ac:spMkLst>
            <pc:docMk/>
            <pc:sldMk cId="1872906630" sldId="3528"/>
            <ac:spMk id="224" creationId="{852936C9-1723-474E-8B00-2073FE35FC96}"/>
          </ac:spMkLst>
        </pc:spChg>
        <pc:spChg chg="mod">
          <ac:chgData name="Ojas Rajpal" userId="51f5808b-b899-4853-a9c1-d0f056bcd62b" providerId="ADAL" clId="{6D74ED87-DB79-4CAF-BA45-025B60DFCFBD}" dt="2022-03-30T07:57:10.690" v="773" actId="14100"/>
          <ac:spMkLst>
            <pc:docMk/>
            <pc:sldMk cId="1872906630" sldId="3528"/>
            <ac:spMk id="225" creationId="{3F491EB4-A4EA-4663-AE20-1E2B767EB050}"/>
          </ac:spMkLst>
        </pc:spChg>
        <pc:spChg chg="mod">
          <ac:chgData name="Ojas Rajpal" userId="51f5808b-b899-4853-a9c1-d0f056bcd62b" providerId="ADAL" clId="{6D74ED87-DB79-4CAF-BA45-025B60DFCFBD}" dt="2022-03-30T07:57:10.690" v="773" actId="14100"/>
          <ac:spMkLst>
            <pc:docMk/>
            <pc:sldMk cId="1872906630" sldId="3528"/>
            <ac:spMk id="226" creationId="{D14C69A4-26B1-40E9-8222-32E21B293C49}"/>
          </ac:spMkLst>
        </pc:spChg>
        <pc:spChg chg="mod">
          <ac:chgData name="Ojas Rajpal" userId="51f5808b-b899-4853-a9c1-d0f056bcd62b" providerId="ADAL" clId="{6D74ED87-DB79-4CAF-BA45-025B60DFCFBD}" dt="2022-03-30T07:57:10.690" v="773" actId="14100"/>
          <ac:spMkLst>
            <pc:docMk/>
            <pc:sldMk cId="1872906630" sldId="3528"/>
            <ac:spMk id="227" creationId="{E061D09B-832D-47E5-B8C2-AC09C59BDFEF}"/>
          </ac:spMkLst>
        </pc:spChg>
        <pc:spChg chg="mod">
          <ac:chgData name="Ojas Rajpal" userId="51f5808b-b899-4853-a9c1-d0f056bcd62b" providerId="ADAL" clId="{6D74ED87-DB79-4CAF-BA45-025B60DFCFBD}" dt="2022-03-30T07:57:10.690" v="773" actId="14100"/>
          <ac:spMkLst>
            <pc:docMk/>
            <pc:sldMk cId="1872906630" sldId="3528"/>
            <ac:spMk id="228" creationId="{CEA7F37E-7086-471E-B259-5FB1E64E60C6}"/>
          </ac:spMkLst>
        </pc:spChg>
        <pc:spChg chg="mod">
          <ac:chgData name="Ojas Rajpal" userId="51f5808b-b899-4853-a9c1-d0f056bcd62b" providerId="ADAL" clId="{6D74ED87-DB79-4CAF-BA45-025B60DFCFBD}" dt="2022-03-30T07:57:10.690" v="773" actId="14100"/>
          <ac:spMkLst>
            <pc:docMk/>
            <pc:sldMk cId="1872906630" sldId="3528"/>
            <ac:spMk id="229" creationId="{57AECA5C-5FD2-4B62-8E34-72F5F23AC6A1}"/>
          </ac:spMkLst>
        </pc:spChg>
        <pc:spChg chg="mod">
          <ac:chgData name="Ojas Rajpal" userId="51f5808b-b899-4853-a9c1-d0f056bcd62b" providerId="ADAL" clId="{6D74ED87-DB79-4CAF-BA45-025B60DFCFBD}" dt="2022-03-30T07:57:10.690" v="773" actId="14100"/>
          <ac:spMkLst>
            <pc:docMk/>
            <pc:sldMk cId="1872906630" sldId="3528"/>
            <ac:spMk id="230" creationId="{70E761AC-6A89-4C45-AFE1-BD21A5644D71}"/>
          </ac:spMkLst>
        </pc:spChg>
        <pc:spChg chg="mod">
          <ac:chgData name="Ojas Rajpal" userId="51f5808b-b899-4853-a9c1-d0f056bcd62b" providerId="ADAL" clId="{6D74ED87-DB79-4CAF-BA45-025B60DFCFBD}" dt="2022-03-30T07:57:10.690" v="773" actId="14100"/>
          <ac:spMkLst>
            <pc:docMk/>
            <pc:sldMk cId="1872906630" sldId="3528"/>
            <ac:spMk id="231" creationId="{143FBF4F-AE28-40DC-AC70-7D33955F1AA1}"/>
          </ac:spMkLst>
        </pc:spChg>
        <pc:spChg chg="mod">
          <ac:chgData name="Ojas Rajpal" userId="51f5808b-b899-4853-a9c1-d0f056bcd62b" providerId="ADAL" clId="{6D74ED87-DB79-4CAF-BA45-025B60DFCFBD}" dt="2022-03-30T07:57:10.690" v="773" actId="14100"/>
          <ac:spMkLst>
            <pc:docMk/>
            <pc:sldMk cId="1872906630" sldId="3528"/>
            <ac:spMk id="232" creationId="{0F498858-B40B-43B6-BE6E-7FF7D7A9455A}"/>
          </ac:spMkLst>
        </pc:spChg>
        <pc:spChg chg="mod">
          <ac:chgData name="Ojas Rajpal" userId="51f5808b-b899-4853-a9c1-d0f056bcd62b" providerId="ADAL" clId="{6D74ED87-DB79-4CAF-BA45-025B60DFCFBD}" dt="2022-03-30T07:57:10.690" v="773" actId="14100"/>
          <ac:spMkLst>
            <pc:docMk/>
            <pc:sldMk cId="1872906630" sldId="3528"/>
            <ac:spMk id="233" creationId="{FFB38055-6FEE-4A09-B622-B6745077D63C}"/>
          </ac:spMkLst>
        </pc:spChg>
        <pc:spChg chg="mod">
          <ac:chgData name="Ojas Rajpal" userId="51f5808b-b899-4853-a9c1-d0f056bcd62b" providerId="ADAL" clId="{6D74ED87-DB79-4CAF-BA45-025B60DFCFBD}" dt="2022-03-30T07:57:10.690" v="773" actId="14100"/>
          <ac:spMkLst>
            <pc:docMk/>
            <pc:sldMk cId="1872906630" sldId="3528"/>
            <ac:spMk id="234" creationId="{E6AC27B5-695C-44FE-9FF6-1DDD33B73094}"/>
          </ac:spMkLst>
        </pc:spChg>
        <pc:spChg chg="mod">
          <ac:chgData name="Ojas Rajpal" userId="51f5808b-b899-4853-a9c1-d0f056bcd62b" providerId="ADAL" clId="{6D74ED87-DB79-4CAF-BA45-025B60DFCFBD}" dt="2022-03-30T07:57:10.690" v="773" actId="14100"/>
          <ac:spMkLst>
            <pc:docMk/>
            <pc:sldMk cId="1872906630" sldId="3528"/>
            <ac:spMk id="235" creationId="{4101970B-7CCD-45D5-818A-0D8C0A46E16A}"/>
          </ac:spMkLst>
        </pc:spChg>
        <pc:spChg chg="mod">
          <ac:chgData name="Ojas Rajpal" userId="51f5808b-b899-4853-a9c1-d0f056bcd62b" providerId="ADAL" clId="{6D74ED87-DB79-4CAF-BA45-025B60DFCFBD}" dt="2022-03-30T07:57:10.690" v="773" actId="14100"/>
          <ac:spMkLst>
            <pc:docMk/>
            <pc:sldMk cId="1872906630" sldId="3528"/>
            <ac:spMk id="236" creationId="{25A982EE-77AB-45E2-B05C-B933F73FC2D4}"/>
          </ac:spMkLst>
        </pc:spChg>
        <pc:spChg chg="mod">
          <ac:chgData name="Ojas Rajpal" userId="51f5808b-b899-4853-a9c1-d0f056bcd62b" providerId="ADAL" clId="{6D74ED87-DB79-4CAF-BA45-025B60DFCFBD}" dt="2022-03-30T07:57:10.690" v="773" actId="14100"/>
          <ac:spMkLst>
            <pc:docMk/>
            <pc:sldMk cId="1872906630" sldId="3528"/>
            <ac:spMk id="237" creationId="{AEED656C-BA4B-4F7A-B7AF-1260D5879438}"/>
          </ac:spMkLst>
        </pc:spChg>
        <pc:spChg chg="mod">
          <ac:chgData name="Ojas Rajpal" userId="51f5808b-b899-4853-a9c1-d0f056bcd62b" providerId="ADAL" clId="{6D74ED87-DB79-4CAF-BA45-025B60DFCFBD}" dt="2022-03-30T07:57:10.690" v="773" actId="14100"/>
          <ac:spMkLst>
            <pc:docMk/>
            <pc:sldMk cId="1872906630" sldId="3528"/>
            <ac:spMk id="238" creationId="{C596F5FB-1972-42D0-A01A-98745CA2C843}"/>
          </ac:spMkLst>
        </pc:spChg>
        <pc:spChg chg="mod">
          <ac:chgData name="Ojas Rajpal" userId="51f5808b-b899-4853-a9c1-d0f056bcd62b" providerId="ADAL" clId="{6D74ED87-DB79-4CAF-BA45-025B60DFCFBD}" dt="2022-03-30T07:57:10.690" v="773" actId="14100"/>
          <ac:spMkLst>
            <pc:docMk/>
            <pc:sldMk cId="1872906630" sldId="3528"/>
            <ac:spMk id="239" creationId="{A0B18B39-116C-4AB0-A2C9-81F57C535035}"/>
          </ac:spMkLst>
        </pc:spChg>
        <pc:spChg chg="mod">
          <ac:chgData name="Ojas Rajpal" userId="51f5808b-b899-4853-a9c1-d0f056bcd62b" providerId="ADAL" clId="{6D74ED87-DB79-4CAF-BA45-025B60DFCFBD}" dt="2022-03-30T07:57:10.690" v="773" actId="14100"/>
          <ac:spMkLst>
            <pc:docMk/>
            <pc:sldMk cId="1872906630" sldId="3528"/>
            <ac:spMk id="240" creationId="{EB918DD7-7CA2-4E59-9B24-FFE46006EDA1}"/>
          </ac:spMkLst>
        </pc:spChg>
        <pc:spChg chg="mod">
          <ac:chgData name="Ojas Rajpal" userId="51f5808b-b899-4853-a9c1-d0f056bcd62b" providerId="ADAL" clId="{6D74ED87-DB79-4CAF-BA45-025B60DFCFBD}" dt="2022-03-30T07:57:10.690" v="773" actId="14100"/>
          <ac:spMkLst>
            <pc:docMk/>
            <pc:sldMk cId="1872906630" sldId="3528"/>
            <ac:spMk id="241" creationId="{7A338A0E-0DE9-4A46-AA9E-B76AFD6CDB12}"/>
          </ac:spMkLst>
        </pc:spChg>
        <pc:spChg chg="mod">
          <ac:chgData name="Ojas Rajpal" userId="51f5808b-b899-4853-a9c1-d0f056bcd62b" providerId="ADAL" clId="{6D74ED87-DB79-4CAF-BA45-025B60DFCFBD}" dt="2022-03-30T07:57:10.690" v="773" actId="14100"/>
          <ac:spMkLst>
            <pc:docMk/>
            <pc:sldMk cId="1872906630" sldId="3528"/>
            <ac:spMk id="242" creationId="{46C96319-B5CB-46B2-B930-AB85F8BF3658}"/>
          </ac:spMkLst>
        </pc:spChg>
        <pc:spChg chg="mod">
          <ac:chgData name="Ojas Rajpal" userId="51f5808b-b899-4853-a9c1-d0f056bcd62b" providerId="ADAL" clId="{6D74ED87-DB79-4CAF-BA45-025B60DFCFBD}" dt="2022-03-30T07:57:10.690" v="773" actId="14100"/>
          <ac:spMkLst>
            <pc:docMk/>
            <pc:sldMk cId="1872906630" sldId="3528"/>
            <ac:spMk id="243" creationId="{C4526B3F-7A5F-4409-81A2-4EC2CE40F1AD}"/>
          </ac:spMkLst>
        </pc:spChg>
        <pc:spChg chg="mod">
          <ac:chgData name="Ojas Rajpal" userId="51f5808b-b899-4853-a9c1-d0f056bcd62b" providerId="ADAL" clId="{6D74ED87-DB79-4CAF-BA45-025B60DFCFBD}" dt="2022-03-30T07:57:10.690" v="773" actId="14100"/>
          <ac:spMkLst>
            <pc:docMk/>
            <pc:sldMk cId="1872906630" sldId="3528"/>
            <ac:spMk id="244" creationId="{EBD50F60-E264-4AE0-B5EF-2DBC7498A2D2}"/>
          </ac:spMkLst>
        </pc:spChg>
        <pc:spChg chg="mod">
          <ac:chgData name="Ojas Rajpal" userId="51f5808b-b899-4853-a9c1-d0f056bcd62b" providerId="ADAL" clId="{6D74ED87-DB79-4CAF-BA45-025B60DFCFBD}" dt="2022-03-30T07:57:10.690" v="773" actId="14100"/>
          <ac:spMkLst>
            <pc:docMk/>
            <pc:sldMk cId="1872906630" sldId="3528"/>
            <ac:spMk id="245" creationId="{3986A554-DC38-4E50-8033-D446D29D1074}"/>
          </ac:spMkLst>
        </pc:spChg>
        <pc:spChg chg="mod">
          <ac:chgData name="Ojas Rajpal" userId="51f5808b-b899-4853-a9c1-d0f056bcd62b" providerId="ADAL" clId="{6D74ED87-DB79-4CAF-BA45-025B60DFCFBD}" dt="2022-03-30T07:57:10.690" v="773" actId="14100"/>
          <ac:spMkLst>
            <pc:docMk/>
            <pc:sldMk cId="1872906630" sldId="3528"/>
            <ac:spMk id="246" creationId="{8F238ECF-4D6A-4A79-A817-C780895CE8F1}"/>
          </ac:spMkLst>
        </pc:spChg>
        <pc:spChg chg="mod">
          <ac:chgData name="Ojas Rajpal" userId="51f5808b-b899-4853-a9c1-d0f056bcd62b" providerId="ADAL" clId="{6D74ED87-DB79-4CAF-BA45-025B60DFCFBD}" dt="2022-03-30T07:57:10.690" v="773" actId="14100"/>
          <ac:spMkLst>
            <pc:docMk/>
            <pc:sldMk cId="1872906630" sldId="3528"/>
            <ac:spMk id="247" creationId="{4C73B67F-4FA7-4CB9-A829-38EFFC0B29FA}"/>
          </ac:spMkLst>
        </pc:spChg>
        <pc:spChg chg="mod">
          <ac:chgData name="Ojas Rajpal" userId="51f5808b-b899-4853-a9c1-d0f056bcd62b" providerId="ADAL" clId="{6D74ED87-DB79-4CAF-BA45-025B60DFCFBD}" dt="2022-03-30T07:57:10.690" v="773" actId="14100"/>
          <ac:spMkLst>
            <pc:docMk/>
            <pc:sldMk cId="1872906630" sldId="3528"/>
            <ac:spMk id="248" creationId="{8601CBE5-0CB1-4286-BB5D-06EC727071A5}"/>
          </ac:spMkLst>
        </pc:spChg>
        <pc:spChg chg="mod">
          <ac:chgData name="Ojas Rajpal" userId="51f5808b-b899-4853-a9c1-d0f056bcd62b" providerId="ADAL" clId="{6D74ED87-DB79-4CAF-BA45-025B60DFCFBD}" dt="2022-03-30T07:57:10.690" v="773" actId="14100"/>
          <ac:spMkLst>
            <pc:docMk/>
            <pc:sldMk cId="1872906630" sldId="3528"/>
            <ac:spMk id="249" creationId="{A2219772-99DA-49CC-BC70-493D3626428E}"/>
          </ac:spMkLst>
        </pc:spChg>
        <pc:spChg chg="mod">
          <ac:chgData name="Ojas Rajpal" userId="51f5808b-b899-4853-a9c1-d0f056bcd62b" providerId="ADAL" clId="{6D74ED87-DB79-4CAF-BA45-025B60DFCFBD}" dt="2022-03-30T07:57:10.690" v="773" actId="14100"/>
          <ac:spMkLst>
            <pc:docMk/>
            <pc:sldMk cId="1872906630" sldId="3528"/>
            <ac:spMk id="250" creationId="{71B0913E-B6C5-4DAF-AE9F-D7B2C070F98B}"/>
          </ac:spMkLst>
        </pc:spChg>
        <pc:spChg chg="mod">
          <ac:chgData name="Ojas Rajpal" userId="51f5808b-b899-4853-a9c1-d0f056bcd62b" providerId="ADAL" clId="{6D74ED87-DB79-4CAF-BA45-025B60DFCFBD}" dt="2022-03-30T07:57:10.690" v="773" actId="14100"/>
          <ac:spMkLst>
            <pc:docMk/>
            <pc:sldMk cId="1872906630" sldId="3528"/>
            <ac:spMk id="251" creationId="{433C9F55-EE7B-4855-B8F7-23593EA580EE}"/>
          </ac:spMkLst>
        </pc:spChg>
        <pc:spChg chg="mod">
          <ac:chgData name="Ojas Rajpal" userId="51f5808b-b899-4853-a9c1-d0f056bcd62b" providerId="ADAL" clId="{6D74ED87-DB79-4CAF-BA45-025B60DFCFBD}" dt="2022-03-30T07:57:10.690" v="773" actId="14100"/>
          <ac:spMkLst>
            <pc:docMk/>
            <pc:sldMk cId="1872906630" sldId="3528"/>
            <ac:spMk id="252" creationId="{F38A75AD-9510-4BFE-A494-26575563775C}"/>
          </ac:spMkLst>
        </pc:spChg>
        <pc:spChg chg="mod">
          <ac:chgData name="Ojas Rajpal" userId="51f5808b-b899-4853-a9c1-d0f056bcd62b" providerId="ADAL" clId="{6D74ED87-DB79-4CAF-BA45-025B60DFCFBD}" dt="2022-03-30T07:57:10.690" v="773" actId="14100"/>
          <ac:spMkLst>
            <pc:docMk/>
            <pc:sldMk cId="1872906630" sldId="3528"/>
            <ac:spMk id="253" creationId="{7592E299-F169-4C1E-A930-BCD41B792EDF}"/>
          </ac:spMkLst>
        </pc:spChg>
        <pc:spChg chg="mod">
          <ac:chgData name="Ojas Rajpal" userId="51f5808b-b899-4853-a9c1-d0f056bcd62b" providerId="ADAL" clId="{6D74ED87-DB79-4CAF-BA45-025B60DFCFBD}" dt="2022-03-30T07:57:10.690" v="773" actId="14100"/>
          <ac:spMkLst>
            <pc:docMk/>
            <pc:sldMk cId="1872906630" sldId="3528"/>
            <ac:spMk id="254" creationId="{132EB587-6E08-4C77-A463-3B8B36C889A1}"/>
          </ac:spMkLst>
        </pc:spChg>
        <pc:spChg chg="mod">
          <ac:chgData name="Ojas Rajpal" userId="51f5808b-b899-4853-a9c1-d0f056bcd62b" providerId="ADAL" clId="{6D74ED87-DB79-4CAF-BA45-025B60DFCFBD}" dt="2022-03-30T07:57:10.690" v="773" actId="14100"/>
          <ac:spMkLst>
            <pc:docMk/>
            <pc:sldMk cId="1872906630" sldId="3528"/>
            <ac:spMk id="255" creationId="{23E6BB7B-5282-4F8E-9496-2E6512701ED4}"/>
          </ac:spMkLst>
        </pc:spChg>
        <pc:spChg chg="mod">
          <ac:chgData name="Ojas Rajpal" userId="51f5808b-b899-4853-a9c1-d0f056bcd62b" providerId="ADAL" clId="{6D74ED87-DB79-4CAF-BA45-025B60DFCFBD}" dt="2022-03-30T07:57:10.690" v="773" actId="14100"/>
          <ac:spMkLst>
            <pc:docMk/>
            <pc:sldMk cId="1872906630" sldId="3528"/>
            <ac:spMk id="256" creationId="{4A601EEB-5740-4531-B772-68CCD72EE2B9}"/>
          </ac:spMkLst>
        </pc:spChg>
        <pc:spChg chg="mod">
          <ac:chgData name="Ojas Rajpal" userId="51f5808b-b899-4853-a9c1-d0f056bcd62b" providerId="ADAL" clId="{6D74ED87-DB79-4CAF-BA45-025B60DFCFBD}" dt="2022-03-30T07:57:10.690" v="773" actId="14100"/>
          <ac:spMkLst>
            <pc:docMk/>
            <pc:sldMk cId="1872906630" sldId="3528"/>
            <ac:spMk id="257" creationId="{A482C060-0CCD-4757-BD77-D7C47D0CD555}"/>
          </ac:spMkLst>
        </pc:spChg>
        <pc:spChg chg="mod">
          <ac:chgData name="Ojas Rajpal" userId="51f5808b-b899-4853-a9c1-d0f056bcd62b" providerId="ADAL" clId="{6D74ED87-DB79-4CAF-BA45-025B60DFCFBD}" dt="2022-03-30T07:57:10.690" v="773" actId="14100"/>
          <ac:spMkLst>
            <pc:docMk/>
            <pc:sldMk cId="1872906630" sldId="3528"/>
            <ac:spMk id="258" creationId="{B90BEDD1-B547-4EF7-BF2E-6FE4B34E454A}"/>
          </ac:spMkLst>
        </pc:spChg>
        <pc:spChg chg="mod">
          <ac:chgData name="Ojas Rajpal" userId="51f5808b-b899-4853-a9c1-d0f056bcd62b" providerId="ADAL" clId="{6D74ED87-DB79-4CAF-BA45-025B60DFCFBD}" dt="2022-03-30T07:58:04.420" v="803" actId="14100"/>
          <ac:spMkLst>
            <pc:docMk/>
            <pc:sldMk cId="1872906630" sldId="3528"/>
            <ac:spMk id="274" creationId="{616C0A31-3B51-4704-B311-A68CE0C6E829}"/>
          </ac:spMkLst>
        </pc:spChg>
        <pc:spChg chg="mod">
          <ac:chgData name="Ojas Rajpal" userId="51f5808b-b899-4853-a9c1-d0f056bcd62b" providerId="ADAL" clId="{6D74ED87-DB79-4CAF-BA45-025B60DFCFBD}" dt="2022-03-30T07:58:04.420" v="803" actId="14100"/>
          <ac:spMkLst>
            <pc:docMk/>
            <pc:sldMk cId="1872906630" sldId="3528"/>
            <ac:spMk id="275" creationId="{6A182AB6-321C-4659-AAD3-1DB9472EC2EB}"/>
          </ac:spMkLst>
        </pc:spChg>
        <pc:spChg chg="mod">
          <ac:chgData name="Ojas Rajpal" userId="51f5808b-b899-4853-a9c1-d0f056bcd62b" providerId="ADAL" clId="{6D74ED87-DB79-4CAF-BA45-025B60DFCFBD}" dt="2022-03-30T07:58:04.420" v="803" actId="14100"/>
          <ac:spMkLst>
            <pc:docMk/>
            <pc:sldMk cId="1872906630" sldId="3528"/>
            <ac:spMk id="276" creationId="{E3761AD7-682F-48BC-8636-5C6EBB69F4D0}"/>
          </ac:spMkLst>
        </pc:spChg>
        <pc:spChg chg="mod">
          <ac:chgData name="Ojas Rajpal" userId="51f5808b-b899-4853-a9c1-d0f056bcd62b" providerId="ADAL" clId="{6D74ED87-DB79-4CAF-BA45-025B60DFCFBD}" dt="2022-03-30T07:58:04.420" v="803" actId="14100"/>
          <ac:spMkLst>
            <pc:docMk/>
            <pc:sldMk cId="1872906630" sldId="3528"/>
            <ac:spMk id="277" creationId="{4BB5934B-7435-47C9-92AB-CE1B7B02D715}"/>
          </ac:spMkLst>
        </pc:spChg>
        <pc:spChg chg="mod">
          <ac:chgData name="Ojas Rajpal" userId="51f5808b-b899-4853-a9c1-d0f056bcd62b" providerId="ADAL" clId="{6D74ED87-DB79-4CAF-BA45-025B60DFCFBD}" dt="2022-03-30T07:58:04.420" v="803" actId="14100"/>
          <ac:spMkLst>
            <pc:docMk/>
            <pc:sldMk cId="1872906630" sldId="3528"/>
            <ac:spMk id="278" creationId="{12FE3A42-7443-44F3-9CDD-9C30EF5301C3}"/>
          </ac:spMkLst>
        </pc:spChg>
        <pc:spChg chg="mod">
          <ac:chgData name="Ojas Rajpal" userId="51f5808b-b899-4853-a9c1-d0f056bcd62b" providerId="ADAL" clId="{6D74ED87-DB79-4CAF-BA45-025B60DFCFBD}" dt="2022-03-30T07:58:04.420" v="803" actId="14100"/>
          <ac:spMkLst>
            <pc:docMk/>
            <pc:sldMk cId="1872906630" sldId="3528"/>
            <ac:spMk id="279" creationId="{1D87B8CC-5BF8-49B8-8680-30D6B5B125BE}"/>
          </ac:spMkLst>
        </pc:spChg>
        <pc:spChg chg="mod">
          <ac:chgData name="Ojas Rajpal" userId="51f5808b-b899-4853-a9c1-d0f056bcd62b" providerId="ADAL" clId="{6D74ED87-DB79-4CAF-BA45-025B60DFCFBD}" dt="2022-03-30T07:58:04.420" v="803" actId="14100"/>
          <ac:spMkLst>
            <pc:docMk/>
            <pc:sldMk cId="1872906630" sldId="3528"/>
            <ac:spMk id="280" creationId="{F15951A1-DEE4-4AC8-ACBE-778D26C31D55}"/>
          </ac:spMkLst>
        </pc:spChg>
        <pc:spChg chg="mod">
          <ac:chgData name="Ojas Rajpal" userId="51f5808b-b899-4853-a9c1-d0f056bcd62b" providerId="ADAL" clId="{6D74ED87-DB79-4CAF-BA45-025B60DFCFBD}" dt="2022-03-30T07:58:04.420" v="803" actId="14100"/>
          <ac:spMkLst>
            <pc:docMk/>
            <pc:sldMk cId="1872906630" sldId="3528"/>
            <ac:spMk id="285" creationId="{D5091DA1-9E23-4BDA-8ABC-42587E8511A8}"/>
          </ac:spMkLst>
        </pc:spChg>
        <pc:spChg chg="mod">
          <ac:chgData name="Ojas Rajpal" userId="51f5808b-b899-4853-a9c1-d0f056bcd62b" providerId="ADAL" clId="{6D74ED87-DB79-4CAF-BA45-025B60DFCFBD}" dt="2022-03-30T07:58:04.420" v="803" actId="14100"/>
          <ac:spMkLst>
            <pc:docMk/>
            <pc:sldMk cId="1872906630" sldId="3528"/>
            <ac:spMk id="286" creationId="{1975F6C8-5EFD-45A4-B243-245175F9FC8F}"/>
          </ac:spMkLst>
        </pc:spChg>
        <pc:spChg chg="mod">
          <ac:chgData name="Ojas Rajpal" userId="51f5808b-b899-4853-a9c1-d0f056bcd62b" providerId="ADAL" clId="{6D74ED87-DB79-4CAF-BA45-025B60DFCFBD}" dt="2022-03-30T07:58:04.420" v="803" actId="14100"/>
          <ac:spMkLst>
            <pc:docMk/>
            <pc:sldMk cId="1872906630" sldId="3528"/>
            <ac:spMk id="287" creationId="{96B57269-8470-4B18-B03F-AAE7F9973064}"/>
          </ac:spMkLst>
        </pc:spChg>
        <pc:spChg chg="mod">
          <ac:chgData name="Ojas Rajpal" userId="51f5808b-b899-4853-a9c1-d0f056bcd62b" providerId="ADAL" clId="{6D74ED87-DB79-4CAF-BA45-025B60DFCFBD}" dt="2022-03-30T07:58:04.420" v="803" actId="14100"/>
          <ac:spMkLst>
            <pc:docMk/>
            <pc:sldMk cId="1872906630" sldId="3528"/>
            <ac:spMk id="288" creationId="{CFECF7EE-DF95-47F1-B96A-75ABA8BE9435}"/>
          </ac:spMkLst>
        </pc:spChg>
        <pc:spChg chg="mod">
          <ac:chgData name="Ojas Rajpal" userId="51f5808b-b899-4853-a9c1-d0f056bcd62b" providerId="ADAL" clId="{6D74ED87-DB79-4CAF-BA45-025B60DFCFBD}" dt="2022-03-30T07:58:04.420" v="803" actId="14100"/>
          <ac:spMkLst>
            <pc:docMk/>
            <pc:sldMk cId="1872906630" sldId="3528"/>
            <ac:spMk id="289" creationId="{4BD47BBF-ECD1-4516-BA94-6A7317637EB9}"/>
          </ac:spMkLst>
        </pc:spChg>
        <pc:spChg chg="mod">
          <ac:chgData name="Ojas Rajpal" userId="51f5808b-b899-4853-a9c1-d0f056bcd62b" providerId="ADAL" clId="{6D74ED87-DB79-4CAF-BA45-025B60DFCFBD}" dt="2022-03-30T07:58:04.420" v="803" actId="14100"/>
          <ac:spMkLst>
            <pc:docMk/>
            <pc:sldMk cId="1872906630" sldId="3528"/>
            <ac:spMk id="290" creationId="{769DAC55-E48D-4BED-B007-631C3AC11766}"/>
          </ac:spMkLst>
        </pc:spChg>
        <pc:spChg chg="mod">
          <ac:chgData name="Ojas Rajpal" userId="51f5808b-b899-4853-a9c1-d0f056bcd62b" providerId="ADAL" clId="{6D74ED87-DB79-4CAF-BA45-025B60DFCFBD}" dt="2022-03-30T07:58:04.420" v="803" actId="14100"/>
          <ac:spMkLst>
            <pc:docMk/>
            <pc:sldMk cId="1872906630" sldId="3528"/>
            <ac:spMk id="291" creationId="{40DB2D86-0057-438A-A186-ADEE06F652E3}"/>
          </ac:spMkLst>
        </pc:spChg>
        <pc:spChg chg="mod">
          <ac:chgData name="Ojas Rajpal" userId="51f5808b-b899-4853-a9c1-d0f056bcd62b" providerId="ADAL" clId="{6D74ED87-DB79-4CAF-BA45-025B60DFCFBD}" dt="2022-03-30T07:58:04.420" v="803" actId="14100"/>
          <ac:spMkLst>
            <pc:docMk/>
            <pc:sldMk cId="1872906630" sldId="3528"/>
            <ac:spMk id="292" creationId="{2CBDFC2F-B34C-4D53-B58D-08A4856D8276}"/>
          </ac:spMkLst>
        </pc:spChg>
        <pc:spChg chg="mod">
          <ac:chgData name="Ojas Rajpal" userId="51f5808b-b899-4853-a9c1-d0f056bcd62b" providerId="ADAL" clId="{6D74ED87-DB79-4CAF-BA45-025B60DFCFBD}" dt="2022-03-30T07:58:04.420" v="803" actId="14100"/>
          <ac:spMkLst>
            <pc:docMk/>
            <pc:sldMk cId="1872906630" sldId="3528"/>
            <ac:spMk id="293" creationId="{10F16C16-1B6E-444A-9904-1223F34F0E0F}"/>
          </ac:spMkLst>
        </pc:spChg>
        <pc:spChg chg="mod">
          <ac:chgData name="Ojas Rajpal" userId="51f5808b-b899-4853-a9c1-d0f056bcd62b" providerId="ADAL" clId="{6D74ED87-DB79-4CAF-BA45-025B60DFCFBD}" dt="2022-03-30T07:58:04.420" v="803" actId="14100"/>
          <ac:spMkLst>
            <pc:docMk/>
            <pc:sldMk cId="1872906630" sldId="3528"/>
            <ac:spMk id="294" creationId="{E10DC0A6-029F-4898-8E30-3D26195E4204}"/>
          </ac:spMkLst>
        </pc:spChg>
        <pc:spChg chg="mod">
          <ac:chgData name="Ojas Rajpal" userId="51f5808b-b899-4853-a9c1-d0f056bcd62b" providerId="ADAL" clId="{6D74ED87-DB79-4CAF-BA45-025B60DFCFBD}" dt="2022-03-30T07:58:04.420" v="803" actId="14100"/>
          <ac:spMkLst>
            <pc:docMk/>
            <pc:sldMk cId="1872906630" sldId="3528"/>
            <ac:spMk id="295" creationId="{79145C7B-1AE3-474D-A9D5-53A3FDB46470}"/>
          </ac:spMkLst>
        </pc:spChg>
        <pc:spChg chg="mod">
          <ac:chgData name="Ojas Rajpal" userId="51f5808b-b899-4853-a9c1-d0f056bcd62b" providerId="ADAL" clId="{6D74ED87-DB79-4CAF-BA45-025B60DFCFBD}" dt="2022-03-30T07:58:04.420" v="803" actId="14100"/>
          <ac:spMkLst>
            <pc:docMk/>
            <pc:sldMk cId="1872906630" sldId="3528"/>
            <ac:spMk id="296" creationId="{51C24B2B-7901-4FAD-9F69-3B20BA948E3D}"/>
          </ac:spMkLst>
        </pc:spChg>
        <pc:spChg chg="mod">
          <ac:chgData name="Ojas Rajpal" userId="51f5808b-b899-4853-a9c1-d0f056bcd62b" providerId="ADAL" clId="{6D74ED87-DB79-4CAF-BA45-025B60DFCFBD}" dt="2022-03-30T07:58:04.420" v="803" actId="14100"/>
          <ac:spMkLst>
            <pc:docMk/>
            <pc:sldMk cId="1872906630" sldId="3528"/>
            <ac:spMk id="297" creationId="{65D33012-1438-4CA6-9180-76FA39F810E4}"/>
          </ac:spMkLst>
        </pc:spChg>
        <pc:spChg chg="mod">
          <ac:chgData name="Ojas Rajpal" userId="51f5808b-b899-4853-a9c1-d0f056bcd62b" providerId="ADAL" clId="{6D74ED87-DB79-4CAF-BA45-025B60DFCFBD}" dt="2022-03-30T07:58:04.420" v="803" actId="14100"/>
          <ac:spMkLst>
            <pc:docMk/>
            <pc:sldMk cId="1872906630" sldId="3528"/>
            <ac:spMk id="298" creationId="{94C35CE5-4A5D-46EE-9BD9-2388914FF437}"/>
          </ac:spMkLst>
        </pc:spChg>
        <pc:spChg chg="mod">
          <ac:chgData name="Ojas Rajpal" userId="51f5808b-b899-4853-a9c1-d0f056bcd62b" providerId="ADAL" clId="{6D74ED87-DB79-4CAF-BA45-025B60DFCFBD}" dt="2022-03-30T07:58:04.420" v="803" actId="14100"/>
          <ac:spMkLst>
            <pc:docMk/>
            <pc:sldMk cId="1872906630" sldId="3528"/>
            <ac:spMk id="299" creationId="{08745DD9-ABD3-4251-8B5E-A3D0553F2B48}"/>
          </ac:spMkLst>
        </pc:spChg>
        <pc:spChg chg="mod">
          <ac:chgData name="Ojas Rajpal" userId="51f5808b-b899-4853-a9c1-d0f056bcd62b" providerId="ADAL" clId="{6D74ED87-DB79-4CAF-BA45-025B60DFCFBD}" dt="2022-03-30T07:58:04.420" v="803" actId="14100"/>
          <ac:spMkLst>
            <pc:docMk/>
            <pc:sldMk cId="1872906630" sldId="3528"/>
            <ac:spMk id="300" creationId="{91CB8E28-1140-4CD4-AEEA-8EC2E20475FD}"/>
          </ac:spMkLst>
        </pc:spChg>
        <pc:spChg chg="mod">
          <ac:chgData name="Ojas Rajpal" userId="51f5808b-b899-4853-a9c1-d0f056bcd62b" providerId="ADAL" clId="{6D74ED87-DB79-4CAF-BA45-025B60DFCFBD}" dt="2022-03-30T07:58:04.420" v="803" actId="14100"/>
          <ac:spMkLst>
            <pc:docMk/>
            <pc:sldMk cId="1872906630" sldId="3528"/>
            <ac:spMk id="301" creationId="{3A36BA41-3F8D-4CD9-9EF2-35E89EC8BF39}"/>
          </ac:spMkLst>
        </pc:spChg>
        <pc:spChg chg="mod">
          <ac:chgData name="Ojas Rajpal" userId="51f5808b-b899-4853-a9c1-d0f056bcd62b" providerId="ADAL" clId="{6D74ED87-DB79-4CAF-BA45-025B60DFCFBD}" dt="2022-03-30T07:58:04.420" v="803" actId="14100"/>
          <ac:spMkLst>
            <pc:docMk/>
            <pc:sldMk cId="1872906630" sldId="3528"/>
            <ac:spMk id="302" creationId="{84035CA9-F7C6-415B-B3B0-D2FDBC4A2CE5}"/>
          </ac:spMkLst>
        </pc:spChg>
        <pc:spChg chg="mod">
          <ac:chgData name="Ojas Rajpal" userId="51f5808b-b899-4853-a9c1-d0f056bcd62b" providerId="ADAL" clId="{6D74ED87-DB79-4CAF-BA45-025B60DFCFBD}" dt="2022-03-30T07:58:04.420" v="803" actId="14100"/>
          <ac:spMkLst>
            <pc:docMk/>
            <pc:sldMk cId="1872906630" sldId="3528"/>
            <ac:spMk id="303" creationId="{A56E006D-9E3D-498A-8C86-44FACC7E9F89}"/>
          </ac:spMkLst>
        </pc:spChg>
        <pc:spChg chg="mod">
          <ac:chgData name="Ojas Rajpal" userId="51f5808b-b899-4853-a9c1-d0f056bcd62b" providerId="ADAL" clId="{6D74ED87-DB79-4CAF-BA45-025B60DFCFBD}" dt="2022-03-30T07:58:04.420" v="803" actId="14100"/>
          <ac:spMkLst>
            <pc:docMk/>
            <pc:sldMk cId="1872906630" sldId="3528"/>
            <ac:spMk id="304" creationId="{EEC35046-907E-4EC9-A044-89FCA547DBC3}"/>
          </ac:spMkLst>
        </pc:spChg>
        <pc:spChg chg="mod">
          <ac:chgData name="Ojas Rajpal" userId="51f5808b-b899-4853-a9c1-d0f056bcd62b" providerId="ADAL" clId="{6D74ED87-DB79-4CAF-BA45-025B60DFCFBD}" dt="2022-03-30T07:58:04.420" v="803" actId="14100"/>
          <ac:spMkLst>
            <pc:docMk/>
            <pc:sldMk cId="1872906630" sldId="3528"/>
            <ac:spMk id="305" creationId="{47C75701-C819-43C1-91F4-AC46996836C9}"/>
          </ac:spMkLst>
        </pc:spChg>
        <pc:spChg chg="mod">
          <ac:chgData name="Ojas Rajpal" userId="51f5808b-b899-4853-a9c1-d0f056bcd62b" providerId="ADAL" clId="{6D74ED87-DB79-4CAF-BA45-025B60DFCFBD}" dt="2022-03-30T07:58:04.420" v="803" actId="14100"/>
          <ac:spMkLst>
            <pc:docMk/>
            <pc:sldMk cId="1872906630" sldId="3528"/>
            <ac:spMk id="306" creationId="{2B353C3E-750B-4B32-93D7-8D7143ECEF07}"/>
          </ac:spMkLst>
        </pc:spChg>
        <pc:spChg chg="mod">
          <ac:chgData name="Ojas Rajpal" userId="51f5808b-b899-4853-a9c1-d0f056bcd62b" providerId="ADAL" clId="{6D74ED87-DB79-4CAF-BA45-025B60DFCFBD}" dt="2022-03-30T07:58:04.420" v="803" actId="14100"/>
          <ac:spMkLst>
            <pc:docMk/>
            <pc:sldMk cId="1872906630" sldId="3528"/>
            <ac:spMk id="307" creationId="{F95F0E3F-8156-4079-9C9B-9B7FB8090495}"/>
          </ac:spMkLst>
        </pc:spChg>
        <pc:spChg chg="mod">
          <ac:chgData name="Ojas Rajpal" userId="51f5808b-b899-4853-a9c1-d0f056bcd62b" providerId="ADAL" clId="{6D74ED87-DB79-4CAF-BA45-025B60DFCFBD}" dt="2022-03-30T07:58:04.420" v="803" actId="14100"/>
          <ac:spMkLst>
            <pc:docMk/>
            <pc:sldMk cId="1872906630" sldId="3528"/>
            <ac:spMk id="308" creationId="{93B03826-B72D-4181-A07E-70076816C177}"/>
          </ac:spMkLst>
        </pc:spChg>
        <pc:spChg chg="mod">
          <ac:chgData name="Ojas Rajpal" userId="51f5808b-b899-4853-a9c1-d0f056bcd62b" providerId="ADAL" clId="{6D74ED87-DB79-4CAF-BA45-025B60DFCFBD}" dt="2022-03-30T07:58:04.420" v="803" actId="14100"/>
          <ac:spMkLst>
            <pc:docMk/>
            <pc:sldMk cId="1872906630" sldId="3528"/>
            <ac:spMk id="309" creationId="{9AE77D61-8481-4BE4-AF79-5A97D1A16513}"/>
          </ac:spMkLst>
        </pc:spChg>
        <pc:spChg chg="mod">
          <ac:chgData name="Ojas Rajpal" userId="51f5808b-b899-4853-a9c1-d0f056bcd62b" providerId="ADAL" clId="{6D74ED87-DB79-4CAF-BA45-025B60DFCFBD}" dt="2022-03-30T07:58:04.420" v="803" actId="14100"/>
          <ac:spMkLst>
            <pc:docMk/>
            <pc:sldMk cId="1872906630" sldId="3528"/>
            <ac:spMk id="310" creationId="{53884565-9ECF-4E35-8633-901D47E4C542}"/>
          </ac:spMkLst>
        </pc:spChg>
        <pc:spChg chg="mod">
          <ac:chgData name="Ojas Rajpal" userId="51f5808b-b899-4853-a9c1-d0f056bcd62b" providerId="ADAL" clId="{6D74ED87-DB79-4CAF-BA45-025B60DFCFBD}" dt="2022-03-30T07:58:04.420" v="803" actId="14100"/>
          <ac:spMkLst>
            <pc:docMk/>
            <pc:sldMk cId="1872906630" sldId="3528"/>
            <ac:spMk id="311" creationId="{8F251D69-1E43-42B0-92D4-F201E0BAE60C}"/>
          </ac:spMkLst>
        </pc:spChg>
        <pc:spChg chg="mod">
          <ac:chgData name="Ojas Rajpal" userId="51f5808b-b899-4853-a9c1-d0f056bcd62b" providerId="ADAL" clId="{6D74ED87-DB79-4CAF-BA45-025B60DFCFBD}" dt="2022-03-30T07:58:04.420" v="803" actId="14100"/>
          <ac:spMkLst>
            <pc:docMk/>
            <pc:sldMk cId="1872906630" sldId="3528"/>
            <ac:spMk id="312" creationId="{EEFEB5B2-4422-41B8-B28C-ACF86A9EC9EB}"/>
          </ac:spMkLst>
        </pc:spChg>
        <pc:spChg chg="mod">
          <ac:chgData name="Ojas Rajpal" userId="51f5808b-b899-4853-a9c1-d0f056bcd62b" providerId="ADAL" clId="{6D74ED87-DB79-4CAF-BA45-025B60DFCFBD}" dt="2022-03-30T07:58:04.420" v="803" actId="14100"/>
          <ac:spMkLst>
            <pc:docMk/>
            <pc:sldMk cId="1872906630" sldId="3528"/>
            <ac:spMk id="313" creationId="{7823106C-ADD6-47D2-A161-CDC5BE772A2C}"/>
          </ac:spMkLst>
        </pc:spChg>
        <pc:spChg chg="mod">
          <ac:chgData name="Ojas Rajpal" userId="51f5808b-b899-4853-a9c1-d0f056bcd62b" providerId="ADAL" clId="{6D74ED87-DB79-4CAF-BA45-025B60DFCFBD}" dt="2022-03-30T07:58:04.420" v="803" actId="14100"/>
          <ac:spMkLst>
            <pc:docMk/>
            <pc:sldMk cId="1872906630" sldId="3528"/>
            <ac:spMk id="314" creationId="{0937FF3D-A210-4379-837D-C0C1905639FC}"/>
          </ac:spMkLst>
        </pc:spChg>
        <pc:spChg chg="mod">
          <ac:chgData name="Ojas Rajpal" userId="51f5808b-b899-4853-a9c1-d0f056bcd62b" providerId="ADAL" clId="{6D74ED87-DB79-4CAF-BA45-025B60DFCFBD}" dt="2022-03-30T07:58:04.420" v="803" actId="14100"/>
          <ac:spMkLst>
            <pc:docMk/>
            <pc:sldMk cId="1872906630" sldId="3528"/>
            <ac:spMk id="315" creationId="{BD52AD66-2B20-43C4-8C66-F94474CD653B}"/>
          </ac:spMkLst>
        </pc:spChg>
        <pc:spChg chg="mod">
          <ac:chgData name="Ojas Rajpal" userId="51f5808b-b899-4853-a9c1-d0f056bcd62b" providerId="ADAL" clId="{6D74ED87-DB79-4CAF-BA45-025B60DFCFBD}" dt="2022-03-30T07:58:04.420" v="803" actId="14100"/>
          <ac:spMkLst>
            <pc:docMk/>
            <pc:sldMk cId="1872906630" sldId="3528"/>
            <ac:spMk id="316" creationId="{A069C708-8EDD-405C-BE54-C596F622E245}"/>
          </ac:spMkLst>
        </pc:spChg>
        <pc:spChg chg="mod">
          <ac:chgData name="Ojas Rajpal" userId="51f5808b-b899-4853-a9c1-d0f056bcd62b" providerId="ADAL" clId="{6D74ED87-DB79-4CAF-BA45-025B60DFCFBD}" dt="2022-03-30T07:58:04.420" v="803" actId="14100"/>
          <ac:spMkLst>
            <pc:docMk/>
            <pc:sldMk cId="1872906630" sldId="3528"/>
            <ac:spMk id="317" creationId="{2F1CCD11-6D14-4B0B-9647-21B049E8749D}"/>
          </ac:spMkLst>
        </pc:spChg>
        <pc:spChg chg="mod">
          <ac:chgData name="Ojas Rajpal" userId="51f5808b-b899-4853-a9c1-d0f056bcd62b" providerId="ADAL" clId="{6D74ED87-DB79-4CAF-BA45-025B60DFCFBD}" dt="2022-03-30T07:58:04.420" v="803" actId="14100"/>
          <ac:spMkLst>
            <pc:docMk/>
            <pc:sldMk cId="1872906630" sldId="3528"/>
            <ac:spMk id="318" creationId="{3BE86870-BC0C-4545-8EAE-642EF200CF48}"/>
          </ac:spMkLst>
        </pc:spChg>
        <pc:spChg chg="mod">
          <ac:chgData name="Ojas Rajpal" userId="51f5808b-b899-4853-a9c1-d0f056bcd62b" providerId="ADAL" clId="{6D74ED87-DB79-4CAF-BA45-025B60DFCFBD}" dt="2022-03-30T07:58:04.420" v="803" actId="14100"/>
          <ac:spMkLst>
            <pc:docMk/>
            <pc:sldMk cId="1872906630" sldId="3528"/>
            <ac:spMk id="319" creationId="{2ECA23EE-F912-4C5A-9FD0-5922AB532569}"/>
          </ac:spMkLst>
        </pc:spChg>
        <pc:spChg chg="mod">
          <ac:chgData name="Ojas Rajpal" userId="51f5808b-b899-4853-a9c1-d0f056bcd62b" providerId="ADAL" clId="{6D74ED87-DB79-4CAF-BA45-025B60DFCFBD}" dt="2022-03-30T07:58:04.420" v="803" actId="14100"/>
          <ac:spMkLst>
            <pc:docMk/>
            <pc:sldMk cId="1872906630" sldId="3528"/>
            <ac:spMk id="320" creationId="{74EFCC43-88E9-423C-AA2A-DE8B942BD95A}"/>
          </ac:spMkLst>
        </pc:spChg>
        <pc:spChg chg="mod">
          <ac:chgData name="Ojas Rajpal" userId="51f5808b-b899-4853-a9c1-d0f056bcd62b" providerId="ADAL" clId="{6D74ED87-DB79-4CAF-BA45-025B60DFCFBD}" dt="2022-03-30T08:10:50.022" v="1211" actId="1036"/>
          <ac:spMkLst>
            <pc:docMk/>
            <pc:sldMk cId="1872906630" sldId="3528"/>
            <ac:spMk id="334" creationId="{EFA8599C-D4CE-4649-9196-6F658CB3B502}"/>
          </ac:spMkLst>
        </pc:spChg>
        <pc:spChg chg="mod">
          <ac:chgData name="Ojas Rajpal" userId="51f5808b-b899-4853-a9c1-d0f056bcd62b" providerId="ADAL" clId="{6D74ED87-DB79-4CAF-BA45-025B60DFCFBD}" dt="2022-03-30T08:10:50.022" v="1211" actId="1036"/>
          <ac:spMkLst>
            <pc:docMk/>
            <pc:sldMk cId="1872906630" sldId="3528"/>
            <ac:spMk id="335" creationId="{47195C18-42AD-4B09-8F75-48E55D5DD7F3}"/>
          </ac:spMkLst>
        </pc:spChg>
        <pc:spChg chg="mod">
          <ac:chgData name="Ojas Rajpal" userId="51f5808b-b899-4853-a9c1-d0f056bcd62b" providerId="ADAL" clId="{6D74ED87-DB79-4CAF-BA45-025B60DFCFBD}" dt="2022-03-30T08:10:50.022" v="1211" actId="1036"/>
          <ac:spMkLst>
            <pc:docMk/>
            <pc:sldMk cId="1872906630" sldId="3528"/>
            <ac:spMk id="339" creationId="{0162C4FF-3E20-4A62-83D6-7C852AE1CF95}"/>
          </ac:spMkLst>
        </pc:spChg>
        <pc:spChg chg="mod">
          <ac:chgData name="Ojas Rajpal" userId="51f5808b-b899-4853-a9c1-d0f056bcd62b" providerId="ADAL" clId="{6D74ED87-DB79-4CAF-BA45-025B60DFCFBD}" dt="2022-03-30T08:10:50.022" v="1211" actId="1036"/>
          <ac:spMkLst>
            <pc:docMk/>
            <pc:sldMk cId="1872906630" sldId="3528"/>
            <ac:spMk id="340" creationId="{588ED526-EA11-4ACD-8874-2440212893FF}"/>
          </ac:spMkLst>
        </pc:spChg>
        <pc:spChg chg="mod">
          <ac:chgData name="Ojas Rajpal" userId="51f5808b-b899-4853-a9c1-d0f056bcd62b" providerId="ADAL" clId="{6D74ED87-DB79-4CAF-BA45-025B60DFCFBD}" dt="2022-03-30T08:10:50.022" v="1211" actId="1036"/>
          <ac:spMkLst>
            <pc:docMk/>
            <pc:sldMk cId="1872906630" sldId="3528"/>
            <ac:spMk id="341" creationId="{BC7ED757-6011-49B4-BC59-F9F263126DD5}"/>
          </ac:spMkLst>
        </pc:spChg>
        <pc:spChg chg="mod">
          <ac:chgData name="Ojas Rajpal" userId="51f5808b-b899-4853-a9c1-d0f056bcd62b" providerId="ADAL" clId="{6D74ED87-DB79-4CAF-BA45-025B60DFCFBD}" dt="2022-03-30T08:10:50.022" v="1211" actId="1036"/>
          <ac:spMkLst>
            <pc:docMk/>
            <pc:sldMk cId="1872906630" sldId="3528"/>
            <ac:spMk id="342" creationId="{739FE1FE-A256-4375-B6D5-002806BCC116}"/>
          </ac:spMkLst>
        </pc:spChg>
        <pc:spChg chg="mod">
          <ac:chgData name="Ojas Rajpal" userId="51f5808b-b899-4853-a9c1-d0f056bcd62b" providerId="ADAL" clId="{6D74ED87-DB79-4CAF-BA45-025B60DFCFBD}" dt="2022-03-30T08:10:50.022" v="1211" actId="1036"/>
          <ac:spMkLst>
            <pc:docMk/>
            <pc:sldMk cId="1872906630" sldId="3528"/>
            <ac:spMk id="343" creationId="{3C52DAC0-E82D-4BC0-94CB-0B859DED65D2}"/>
          </ac:spMkLst>
        </pc:spChg>
        <pc:spChg chg="mod">
          <ac:chgData name="Ojas Rajpal" userId="51f5808b-b899-4853-a9c1-d0f056bcd62b" providerId="ADAL" clId="{6D74ED87-DB79-4CAF-BA45-025B60DFCFBD}" dt="2022-03-30T08:10:50.022" v="1211" actId="1036"/>
          <ac:spMkLst>
            <pc:docMk/>
            <pc:sldMk cId="1872906630" sldId="3528"/>
            <ac:spMk id="344" creationId="{9AA760C6-A9B5-4CB6-998B-A3117A44149E}"/>
          </ac:spMkLst>
        </pc:spChg>
        <pc:spChg chg="mod">
          <ac:chgData name="Ojas Rajpal" userId="51f5808b-b899-4853-a9c1-d0f056bcd62b" providerId="ADAL" clId="{6D74ED87-DB79-4CAF-BA45-025B60DFCFBD}" dt="2022-03-30T08:10:50.022" v="1211" actId="1036"/>
          <ac:spMkLst>
            <pc:docMk/>
            <pc:sldMk cId="1872906630" sldId="3528"/>
            <ac:spMk id="345" creationId="{B5F092C3-7E84-497C-9191-72CB28ACE5BD}"/>
          </ac:spMkLst>
        </pc:spChg>
        <pc:spChg chg="mod">
          <ac:chgData name="Ojas Rajpal" userId="51f5808b-b899-4853-a9c1-d0f056bcd62b" providerId="ADAL" clId="{6D74ED87-DB79-4CAF-BA45-025B60DFCFBD}" dt="2022-03-30T08:10:50.022" v="1211" actId="1036"/>
          <ac:spMkLst>
            <pc:docMk/>
            <pc:sldMk cId="1872906630" sldId="3528"/>
            <ac:spMk id="346" creationId="{3C58CEE8-251C-426F-9454-DC75340AB92E}"/>
          </ac:spMkLst>
        </pc:spChg>
        <pc:spChg chg="mod">
          <ac:chgData name="Ojas Rajpal" userId="51f5808b-b899-4853-a9c1-d0f056bcd62b" providerId="ADAL" clId="{6D74ED87-DB79-4CAF-BA45-025B60DFCFBD}" dt="2022-03-30T08:10:50.022" v="1211" actId="1036"/>
          <ac:spMkLst>
            <pc:docMk/>
            <pc:sldMk cId="1872906630" sldId="3528"/>
            <ac:spMk id="347" creationId="{4B278AE4-066A-4D53-BE19-686648C7F771}"/>
          </ac:spMkLst>
        </pc:spChg>
        <pc:spChg chg="mod">
          <ac:chgData name="Ojas Rajpal" userId="51f5808b-b899-4853-a9c1-d0f056bcd62b" providerId="ADAL" clId="{6D74ED87-DB79-4CAF-BA45-025B60DFCFBD}" dt="2022-03-30T08:10:50.022" v="1211" actId="1036"/>
          <ac:spMkLst>
            <pc:docMk/>
            <pc:sldMk cId="1872906630" sldId="3528"/>
            <ac:spMk id="348" creationId="{FBC49330-F565-4AC7-A771-6AA8F79F9F9D}"/>
          </ac:spMkLst>
        </pc:spChg>
        <pc:spChg chg="mod">
          <ac:chgData name="Ojas Rajpal" userId="51f5808b-b899-4853-a9c1-d0f056bcd62b" providerId="ADAL" clId="{6D74ED87-DB79-4CAF-BA45-025B60DFCFBD}" dt="2022-03-30T08:10:50.022" v="1211" actId="1036"/>
          <ac:spMkLst>
            <pc:docMk/>
            <pc:sldMk cId="1872906630" sldId="3528"/>
            <ac:spMk id="349" creationId="{C58144FD-4077-4C35-9641-0C8EA50004A9}"/>
          </ac:spMkLst>
        </pc:spChg>
        <pc:spChg chg="mod">
          <ac:chgData name="Ojas Rajpal" userId="51f5808b-b899-4853-a9c1-d0f056bcd62b" providerId="ADAL" clId="{6D74ED87-DB79-4CAF-BA45-025B60DFCFBD}" dt="2022-03-30T08:10:50.022" v="1211" actId="1036"/>
          <ac:spMkLst>
            <pc:docMk/>
            <pc:sldMk cId="1872906630" sldId="3528"/>
            <ac:spMk id="350" creationId="{B946FD9D-A192-4C87-ADA4-24DAC2CBB375}"/>
          </ac:spMkLst>
        </pc:spChg>
        <pc:spChg chg="mod">
          <ac:chgData name="Ojas Rajpal" userId="51f5808b-b899-4853-a9c1-d0f056bcd62b" providerId="ADAL" clId="{6D74ED87-DB79-4CAF-BA45-025B60DFCFBD}" dt="2022-03-30T08:10:50.022" v="1211" actId="1036"/>
          <ac:spMkLst>
            <pc:docMk/>
            <pc:sldMk cId="1872906630" sldId="3528"/>
            <ac:spMk id="351" creationId="{F45501CA-2540-4E31-8A0E-2C0628B3E6F7}"/>
          </ac:spMkLst>
        </pc:spChg>
        <pc:spChg chg="mod">
          <ac:chgData name="Ojas Rajpal" userId="51f5808b-b899-4853-a9c1-d0f056bcd62b" providerId="ADAL" clId="{6D74ED87-DB79-4CAF-BA45-025B60DFCFBD}" dt="2022-03-30T08:10:50.022" v="1211" actId="1036"/>
          <ac:spMkLst>
            <pc:docMk/>
            <pc:sldMk cId="1872906630" sldId="3528"/>
            <ac:spMk id="352" creationId="{FE556E6F-6A2C-437C-BDE9-D7F565425624}"/>
          </ac:spMkLst>
        </pc:spChg>
        <pc:spChg chg="mod">
          <ac:chgData name="Ojas Rajpal" userId="51f5808b-b899-4853-a9c1-d0f056bcd62b" providerId="ADAL" clId="{6D74ED87-DB79-4CAF-BA45-025B60DFCFBD}" dt="2022-03-30T08:10:50.022" v="1211" actId="1036"/>
          <ac:spMkLst>
            <pc:docMk/>
            <pc:sldMk cId="1872906630" sldId="3528"/>
            <ac:spMk id="353" creationId="{FE659783-AE26-4755-A761-D43928621FF4}"/>
          </ac:spMkLst>
        </pc:spChg>
        <pc:spChg chg="mod">
          <ac:chgData name="Ojas Rajpal" userId="51f5808b-b899-4853-a9c1-d0f056bcd62b" providerId="ADAL" clId="{6D74ED87-DB79-4CAF-BA45-025B60DFCFBD}" dt="2022-03-30T08:10:50.022" v="1211" actId="1036"/>
          <ac:spMkLst>
            <pc:docMk/>
            <pc:sldMk cId="1872906630" sldId="3528"/>
            <ac:spMk id="354" creationId="{B8A07249-9A6C-4AE2-9747-ED3B5BB07119}"/>
          </ac:spMkLst>
        </pc:spChg>
        <pc:spChg chg="mod">
          <ac:chgData name="Ojas Rajpal" userId="51f5808b-b899-4853-a9c1-d0f056bcd62b" providerId="ADAL" clId="{6D74ED87-DB79-4CAF-BA45-025B60DFCFBD}" dt="2022-03-30T08:10:50.022" v="1211" actId="1036"/>
          <ac:spMkLst>
            <pc:docMk/>
            <pc:sldMk cId="1872906630" sldId="3528"/>
            <ac:spMk id="355" creationId="{8A6896D7-D1EC-47EF-8521-4FA9D264C03D}"/>
          </ac:spMkLst>
        </pc:spChg>
        <pc:spChg chg="mod">
          <ac:chgData name="Ojas Rajpal" userId="51f5808b-b899-4853-a9c1-d0f056bcd62b" providerId="ADAL" clId="{6D74ED87-DB79-4CAF-BA45-025B60DFCFBD}" dt="2022-03-30T08:10:50.022" v="1211" actId="1036"/>
          <ac:spMkLst>
            <pc:docMk/>
            <pc:sldMk cId="1872906630" sldId="3528"/>
            <ac:spMk id="356" creationId="{8A6D463B-590D-44AF-8F81-43C0CBA829BE}"/>
          </ac:spMkLst>
        </pc:spChg>
        <pc:spChg chg="mod">
          <ac:chgData name="Ojas Rajpal" userId="51f5808b-b899-4853-a9c1-d0f056bcd62b" providerId="ADAL" clId="{6D74ED87-DB79-4CAF-BA45-025B60DFCFBD}" dt="2022-03-30T08:10:50.022" v="1211" actId="1036"/>
          <ac:spMkLst>
            <pc:docMk/>
            <pc:sldMk cId="1872906630" sldId="3528"/>
            <ac:spMk id="357" creationId="{FA39E296-ED02-43A3-81B4-3B8643496A47}"/>
          </ac:spMkLst>
        </pc:spChg>
        <pc:spChg chg="mod">
          <ac:chgData name="Ojas Rajpal" userId="51f5808b-b899-4853-a9c1-d0f056bcd62b" providerId="ADAL" clId="{6D74ED87-DB79-4CAF-BA45-025B60DFCFBD}" dt="2022-03-30T08:10:50.022" v="1211" actId="1036"/>
          <ac:spMkLst>
            <pc:docMk/>
            <pc:sldMk cId="1872906630" sldId="3528"/>
            <ac:spMk id="358" creationId="{6E24C78E-2E88-42E6-B882-53BB0C920045}"/>
          </ac:spMkLst>
        </pc:spChg>
        <pc:spChg chg="mod">
          <ac:chgData name="Ojas Rajpal" userId="51f5808b-b899-4853-a9c1-d0f056bcd62b" providerId="ADAL" clId="{6D74ED87-DB79-4CAF-BA45-025B60DFCFBD}" dt="2022-03-30T08:10:50.022" v="1211" actId="1036"/>
          <ac:spMkLst>
            <pc:docMk/>
            <pc:sldMk cId="1872906630" sldId="3528"/>
            <ac:spMk id="359" creationId="{6BF740A5-AB23-4AEB-88CA-05F76A83B3B0}"/>
          </ac:spMkLst>
        </pc:spChg>
        <pc:spChg chg="mod">
          <ac:chgData name="Ojas Rajpal" userId="51f5808b-b899-4853-a9c1-d0f056bcd62b" providerId="ADAL" clId="{6D74ED87-DB79-4CAF-BA45-025B60DFCFBD}" dt="2022-03-30T08:10:50.022" v="1211" actId="1036"/>
          <ac:spMkLst>
            <pc:docMk/>
            <pc:sldMk cId="1872906630" sldId="3528"/>
            <ac:spMk id="360" creationId="{8BEA66E7-838C-4C5A-BD3F-1449E8B69F8A}"/>
          </ac:spMkLst>
        </pc:spChg>
        <pc:spChg chg="mod">
          <ac:chgData name="Ojas Rajpal" userId="51f5808b-b899-4853-a9c1-d0f056bcd62b" providerId="ADAL" clId="{6D74ED87-DB79-4CAF-BA45-025B60DFCFBD}" dt="2022-03-30T08:10:50.022" v="1211" actId="1036"/>
          <ac:spMkLst>
            <pc:docMk/>
            <pc:sldMk cId="1872906630" sldId="3528"/>
            <ac:spMk id="361" creationId="{D07DEDD3-40B8-4460-8CC8-3167BEEC42A0}"/>
          </ac:spMkLst>
        </pc:spChg>
        <pc:spChg chg="mod">
          <ac:chgData name="Ojas Rajpal" userId="51f5808b-b899-4853-a9c1-d0f056bcd62b" providerId="ADAL" clId="{6D74ED87-DB79-4CAF-BA45-025B60DFCFBD}" dt="2022-03-30T08:10:50.022" v="1211" actId="1036"/>
          <ac:spMkLst>
            <pc:docMk/>
            <pc:sldMk cId="1872906630" sldId="3528"/>
            <ac:spMk id="362" creationId="{95340393-AE6B-4143-8557-21CA2DAA9E69}"/>
          </ac:spMkLst>
        </pc:spChg>
        <pc:spChg chg="mod">
          <ac:chgData name="Ojas Rajpal" userId="51f5808b-b899-4853-a9c1-d0f056bcd62b" providerId="ADAL" clId="{6D74ED87-DB79-4CAF-BA45-025B60DFCFBD}" dt="2022-03-30T08:10:50.022" v="1211" actId="1036"/>
          <ac:spMkLst>
            <pc:docMk/>
            <pc:sldMk cId="1872906630" sldId="3528"/>
            <ac:spMk id="363" creationId="{83DDE6B1-9D16-4423-B44B-F0598C963341}"/>
          </ac:spMkLst>
        </pc:spChg>
        <pc:spChg chg="mod">
          <ac:chgData name="Ojas Rajpal" userId="51f5808b-b899-4853-a9c1-d0f056bcd62b" providerId="ADAL" clId="{6D74ED87-DB79-4CAF-BA45-025B60DFCFBD}" dt="2022-03-30T08:10:50.022" v="1211" actId="1036"/>
          <ac:spMkLst>
            <pc:docMk/>
            <pc:sldMk cId="1872906630" sldId="3528"/>
            <ac:spMk id="364" creationId="{5D39CAF2-D01B-4286-8F0F-7BF5F2BC69B6}"/>
          </ac:spMkLst>
        </pc:spChg>
        <pc:spChg chg="mod">
          <ac:chgData name="Ojas Rajpal" userId="51f5808b-b899-4853-a9c1-d0f056bcd62b" providerId="ADAL" clId="{6D74ED87-DB79-4CAF-BA45-025B60DFCFBD}" dt="2022-03-30T08:10:50.022" v="1211" actId="1036"/>
          <ac:spMkLst>
            <pc:docMk/>
            <pc:sldMk cId="1872906630" sldId="3528"/>
            <ac:spMk id="365" creationId="{39F4F247-6BA7-44FE-B3A1-EF1CCEA61D4C}"/>
          </ac:spMkLst>
        </pc:spChg>
        <pc:spChg chg="mod">
          <ac:chgData name="Ojas Rajpal" userId="51f5808b-b899-4853-a9c1-d0f056bcd62b" providerId="ADAL" clId="{6D74ED87-DB79-4CAF-BA45-025B60DFCFBD}" dt="2022-03-30T08:10:50.022" v="1211" actId="1036"/>
          <ac:spMkLst>
            <pc:docMk/>
            <pc:sldMk cId="1872906630" sldId="3528"/>
            <ac:spMk id="366" creationId="{0B8D5A84-73CF-43EB-A23D-79600DD4205B}"/>
          </ac:spMkLst>
        </pc:spChg>
        <pc:spChg chg="mod">
          <ac:chgData name="Ojas Rajpal" userId="51f5808b-b899-4853-a9c1-d0f056bcd62b" providerId="ADAL" clId="{6D74ED87-DB79-4CAF-BA45-025B60DFCFBD}" dt="2022-03-30T08:10:50.022" v="1211" actId="1036"/>
          <ac:spMkLst>
            <pc:docMk/>
            <pc:sldMk cId="1872906630" sldId="3528"/>
            <ac:spMk id="367" creationId="{FD80277B-0D47-41A2-A70D-ACE0FC56400D}"/>
          </ac:spMkLst>
        </pc:spChg>
        <pc:spChg chg="mod">
          <ac:chgData name="Ojas Rajpal" userId="51f5808b-b899-4853-a9c1-d0f056bcd62b" providerId="ADAL" clId="{6D74ED87-DB79-4CAF-BA45-025B60DFCFBD}" dt="2022-03-30T08:10:50.022" v="1211" actId="1036"/>
          <ac:spMkLst>
            <pc:docMk/>
            <pc:sldMk cId="1872906630" sldId="3528"/>
            <ac:spMk id="368" creationId="{4D0BF0AC-703A-4A44-9354-6E659E82BA93}"/>
          </ac:spMkLst>
        </pc:spChg>
        <pc:spChg chg="mod">
          <ac:chgData name="Ojas Rajpal" userId="51f5808b-b899-4853-a9c1-d0f056bcd62b" providerId="ADAL" clId="{6D74ED87-DB79-4CAF-BA45-025B60DFCFBD}" dt="2022-03-30T08:10:50.022" v="1211" actId="1036"/>
          <ac:spMkLst>
            <pc:docMk/>
            <pc:sldMk cId="1872906630" sldId="3528"/>
            <ac:spMk id="369" creationId="{423A6CE5-0F4B-485D-9EBB-A0743AE796D4}"/>
          </ac:spMkLst>
        </pc:spChg>
        <pc:spChg chg="mod">
          <ac:chgData name="Ojas Rajpal" userId="51f5808b-b899-4853-a9c1-d0f056bcd62b" providerId="ADAL" clId="{6D74ED87-DB79-4CAF-BA45-025B60DFCFBD}" dt="2022-03-30T08:10:50.022" v="1211" actId="1036"/>
          <ac:spMkLst>
            <pc:docMk/>
            <pc:sldMk cId="1872906630" sldId="3528"/>
            <ac:spMk id="370" creationId="{48F2C6C6-2D85-4EDC-875B-858D44D0BD37}"/>
          </ac:spMkLst>
        </pc:spChg>
        <pc:spChg chg="mod">
          <ac:chgData name="Ojas Rajpal" userId="51f5808b-b899-4853-a9c1-d0f056bcd62b" providerId="ADAL" clId="{6D74ED87-DB79-4CAF-BA45-025B60DFCFBD}" dt="2022-03-30T08:10:50.022" v="1211" actId="1036"/>
          <ac:spMkLst>
            <pc:docMk/>
            <pc:sldMk cId="1872906630" sldId="3528"/>
            <ac:spMk id="371" creationId="{C67EA729-8E79-4730-8CE7-A0B45F1BBCB7}"/>
          </ac:spMkLst>
        </pc:spChg>
        <pc:spChg chg="mod">
          <ac:chgData name="Ojas Rajpal" userId="51f5808b-b899-4853-a9c1-d0f056bcd62b" providerId="ADAL" clId="{6D74ED87-DB79-4CAF-BA45-025B60DFCFBD}" dt="2022-03-30T08:10:50.022" v="1211" actId="1036"/>
          <ac:spMkLst>
            <pc:docMk/>
            <pc:sldMk cId="1872906630" sldId="3528"/>
            <ac:spMk id="372" creationId="{2EDCBA93-C6EE-448D-864F-F15CF4652FB0}"/>
          </ac:spMkLst>
        </pc:spChg>
        <pc:spChg chg="mod">
          <ac:chgData name="Ojas Rajpal" userId="51f5808b-b899-4853-a9c1-d0f056bcd62b" providerId="ADAL" clId="{6D74ED87-DB79-4CAF-BA45-025B60DFCFBD}" dt="2022-03-30T08:10:50.022" v="1211" actId="1036"/>
          <ac:spMkLst>
            <pc:docMk/>
            <pc:sldMk cId="1872906630" sldId="3528"/>
            <ac:spMk id="373" creationId="{D824A119-B0B9-4B38-B67E-591BAA13DF2F}"/>
          </ac:spMkLst>
        </pc:spChg>
        <pc:spChg chg="mod">
          <ac:chgData name="Ojas Rajpal" userId="51f5808b-b899-4853-a9c1-d0f056bcd62b" providerId="ADAL" clId="{6D74ED87-DB79-4CAF-BA45-025B60DFCFBD}" dt="2022-03-30T08:10:50.022" v="1211" actId="1036"/>
          <ac:spMkLst>
            <pc:docMk/>
            <pc:sldMk cId="1872906630" sldId="3528"/>
            <ac:spMk id="374" creationId="{10038ABE-6D6A-484D-BF8B-AAFE9EAD02E5}"/>
          </ac:spMkLst>
        </pc:spChg>
        <pc:spChg chg="add mod">
          <ac:chgData name="Ojas Rajpal" userId="51f5808b-b899-4853-a9c1-d0f056bcd62b" providerId="ADAL" clId="{6D74ED87-DB79-4CAF-BA45-025B60DFCFBD}" dt="2022-03-30T08:10:50.022" v="1211" actId="1036"/>
          <ac:spMkLst>
            <pc:docMk/>
            <pc:sldMk cId="1872906630" sldId="3528"/>
            <ac:spMk id="382" creationId="{B7948CF0-DF3A-419E-9BD6-8DCDA6AFFDF0}"/>
          </ac:spMkLst>
        </pc:spChg>
        <pc:spChg chg="add mod">
          <ac:chgData name="Ojas Rajpal" userId="51f5808b-b899-4853-a9c1-d0f056bcd62b" providerId="ADAL" clId="{6D74ED87-DB79-4CAF-BA45-025B60DFCFBD}" dt="2022-03-30T08:10:50.022" v="1211" actId="1036"/>
          <ac:spMkLst>
            <pc:docMk/>
            <pc:sldMk cId="1872906630" sldId="3528"/>
            <ac:spMk id="383" creationId="{3AFF4D9C-4245-4AC9-A7BE-9F4FFCD201BE}"/>
          </ac:spMkLst>
        </pc:spChg>
        <pc:spChg chg="add mod">
          <ac:chgData name="Ojas Rajpal" userId="51f5808b-b899-4853-a9c1-d0f056bcd62b" providerId="ADAL" clId="{6D74ED87-DB79-4CAF-BA45-025B60DFCFBD}" dt="2022-03-30T08:10:50.022" v="1211" actId="1036"/>
          <ac:spMkLst>
            <pc:docMk/>
            <pc:sldMk cId="1872906630" sldId="3528"/>
            <ac:spMk id="384" creationId="{BBE7D6EE-6CF3-41B6-ACBC-7A04BD6F757E}"/>
          </ac:spMkLst>
        </pc:spChg>
        <pc:spChg chg="add mod">
          <ac:chgData name="Ojas Rajpal" userId="51f5808b-b899-4853-a9c1-d0f056bcd62b" providerId="ADAL" clId="{6D74ED87-DB79-4CAF-BA45-025B60DFCFBD}" dt="2022-03-30T08:10:50.022" v="1211" actId="1036"/>
          <ac:spMkLst>
            <pc:docMk/>
            <pc:sldMk cId="1872906630" sldId="3528"/>
            <ac:spMk id="385" creationId="{E4198996-73F6-4DBD-8667-6EC053770B68}"/>
          </ac:spMkLst>
        </pc:spChg>
        <pc:spChg chg="add mod">
          <ac:chgData name="Ojas Rajpal" userId="51f5808b-b899-4853-a9c1-d0f056bcd62b" providerId="ADAL" clId="{6D74ED87-DB79-4CAF-BA45-025B60DFCFBD}" dt="2022-03-30T08:10:50.022" v="1211" actId="1036"/>
          <ac:spMkLst>
            <pc:docMk/>
            <pc:sldMk cId="1872906630" sldId="3528"/>
            <ac:spMk id="386" creationId="{D4F2BA1E-1E9E-4459-8E21-E0C120CAD230}"/>
          </ac:spMkLst>
        </pc:spChg>
        <pc:spChg chg="mod topLvl">
          <ac:chgData name="Ojas Rajpal" userId="51f5808b-b899-4853-a9c1-d0f056bcd62b" providerId="ADAL" clId="{6D74ED87-DB79-4CAF-BA45-025B60DFCFBD}" dt="2022-03-30T08:37:51.682" v="3165" actId="1037"/>
          <ac:spMkLst>
            <pc:docMk/>
            <pc:sldMk cId="1872906630" sldId="3528"/>
            <ac:spMk id="392" creationId="{E9E6419D-4554-45B1-A86F-A9D69B368668}"/>
          </ac:spMkLst>
        </pc:spChg>
        <pc:spChg chg="mod topLvl">
          <ac:chgData name="Ojas Rajpal" userId="51f5808b-b899-4853-a9c1-d0f056bcd62b" providerId="ADAL" clId="{6D74ED87-DB79-4CAF-BA45-025B60DFCFBD}" dt="2022-03-30T08:37:51.682" v="3165" actId="1037"/>
          <ac:spMkLst>
            <pc:docMk/>
            <pc:sldMk cId="1872906630" sldId="3528"/>
            <ac:spMk id="393" creationId="{54B3F2DC-A990-4DCD-AC45-6F3FEFD93B9F}"/>
          </ac:spMkLst>
        </pc:spChg>
        <pc:spChg chg="mod topLvl">
          <ac:chgData name="Ojas Rajpal" userId="51f5808b-b899-4853-a9c1-d0f056bcd62b" providerId="ADAL" clId="{6D74ED87-DB79-4CAF-BA45-025B60DFCFBD}" dt="2022-03-30T08:37:51.682" v="3165" actId="1037"/>
          <ac:spMkLst>
            <pc:docMk/>
            <pc:sldMk cId="1872906630" sldId="3528"/>
            <ac:spMk id="395" creationId="{856BD2B6-D29D-415D-B5B8-48BFAB7FF276}"/>
          </ac:spMkLst>
        </pc:spChg>
        <pc:spChg chg="mod topLvl">
          <ac:chgData name="Ojas Rajpal" userId="51f5808b-b899-4853-a9c1-d0f056bcd62b" providerId="ADAL" clId="{6D74ED87-DB79-4CAF-BA45-025B60DFCFBD}" dt="2022-03-30T08:37:51.682" v="3165" actId="1037"/>
          <ac:spMkLst>
            <pc:docMk/>
            <pc:sldMk cId="1872906630" sldId="3528"/>
            <ac:spMk id="396" creationId="{FF4ABE24-A8F6-459C-9E24-B5AAEC126406}"/>
          </ac:spMkLst>
        </pc:spChg>
        <pc:spChg chg="mod topLvl">
          <ac:chgData name="Ojas Rajpal" userId="51f5808b-b899-4853-a9c1-d0f056bcd62b" providerId="ADAL" clId="{6D74ED87-DB79-4CAF-BA45-025B60DFCFBD}" dt="2022-03-30T08:37:51.682" v="3165" actId="1037"/>
          <ac:spMkLst>
            <pc:docMk/>
            <pc:sldMk cId="1872906630" sldId="3528"/>
            <ac:spMk id="398" creationId="{6F048D26-AAE2-4871-AB83-0E7EB05B3D7F}"/>
          </ac:spMkLst>
        </pc:spChg>
        <pc:spChg chg="mod topLvl">
          <ac:chgData name="Ojas Rajpal" userId="51f5808b-b899-4853-a9c1-d0f056bcd62b" providerId="ADAL" clId="{6D74ED87-DB79-4CAF-BA45-025B60DFCFBD}" dt="2022-03-30T08:37:51.682" v="3165" actId="1037"/>
          <ac:spMkLst>
            <pc:docMk/>
            <pc:sldMk cId="1872906630" sldId="3528"/>
            <ac:spMk id="399" creationId="{6D783246-3059-4C45-9D75-D67ABA86BB3A}"/>
          </ac:spMkLst>
        </pc:spChg>
        <pc:spChg chg="add mod">
          <ac:chgData name="Ojas Rajpal" userId="51f5808b-b899-4853-a9c1-d0f056bcd62b" providerId="ADAL" clId="{6D74ED87-DB79-4CAF-BA45-025B60DFCFBD}" dt="2022-03-30T08:37:51.682" v="3165" actId="1037"/>
          <ac:spMkLst>
            <pc:docMk/>
            <pc:sldMk cId="1872906630" sldId="3528"/>
            <ac:spMk id="400" creationId="{B1350BAB-8BA6-4637-BEA7-ACD774F21F3F}"/>
          </ac:spMkLst>
        </pc:spChg>
        <pc:spChg chg="add mod">
          <ac:chgData name="Ojas Rajpal" userId="51f5808b-b899-4853-a9c1-d0f056bcd62b" providerId="ADAL" clId="{6D74ED87-DB79-4CAF-BA45-025B60DFCFBD}" dt="2022-03-30T08:37:51.682" v="3165" actId="1037"/>
          <ac:spMkLst>
            <pc:docMk/>
            <pc:sldMk cId="1872906630" sldId="3528"/>
            <ac:spMk id="401" creationId="{D79DC164-60EE-4C42-97A8-4D5F353E1FA4}"/>
          </ac:spMkLst>
        </pc:spChg>
        <pc:spChg chg="add mod">
          <ac:chgData name="Ojas Rajpal" userId="51f5808b-b899-4853-a9c1-d0f056bcd62b" providerId="ADAL" clId="{6D74ED87-DB79-4CAF-BA45-025B60DFCFBD}" dt="2022-03-30T08:37:51.682" v="3165" actId="1037"/>
          <ac:spMkLst>
            <pc:docMk/>
            <pc:sldMk cId="1872906630" sldId="3528"/>
            <ac:spMk id="402" creationId="{D4CA28E1-3F8F-4629-9A1C-5807925B3137}"/>
          </ac:spMkLst>
        </pc:spChg>
        <pc:spChg chg="add mod">
          <ac:chgData name="Ojas Rajpal" userId="51f5808b-b899-4853-a9c1-d0f056bcd62b" providerId="ADAL" clId="{6D74ED87-DB79-4CAF-BA45-025B60DFCFBD}" dt="2022-03-30T08:37:51.682" v="3165" actId="1037"/>
          <ac:spMkLst>
            <pc:docMk/>
            <pc:sldMk cId="1872906630" sldId="3528"/>
            <ac:spMk id="403" creationId="{F5A2D5C5-3878-44D9-9F2E-C26893B5DFBA}"/>
          </ac:spMkLst>
        </pc:spChg>
        <pc:spChg chg="add mod">
          <ac:chgData name="Ojas Rajpal" userId="51f5808b-b899-4853-a9c1-d0f056bcd62b" providerId="ADAL" clId="{6D74ED87-DB79-4CAF-BA45-025B60DFCFBD}" dt="2022-03-30T08:37:51.682" v="3165" actId="1037"/>
          <ac:spMkLst>
            <pc:docMk/>
            <pc:sldMk cId="1872906630" sldId="3528"/>
            <ac:spMk id="404" creationId="{CFCF3114-4D6E-4982-AD15-845E249AF09F}"/>
          </ac:spMkLst>
        </pc:spChg>
        <pc:spChg chg="add mod">
          <ac:chgData name="Ojas Rajpal" userId="51f5808b-b899-4853-a9c1-d0f056bcd62b" providerId="ADAL" clId="{6D74ED87-DB79-4CAF-BA45-025B60DFCFBD}" dt="2022-03-30T08:37:51.682" v="3165" actId="1037"/>
          <ac:spMkLst>
            <pc:docMk/>
            <pc:sldMk cId="1872906630" sldId="3528"/>
            <ac:spMk id="405" creationId="{25C5A7BB-A9ED-48EE-9874-F6BB649918BD}"/>
          </ac:spMkLst>
        </pc:spChg>
        <pc:spChg chg="add mod">
          <ac:chgData name="Ojas Rajpal" userId="51f5808b-b899-4853-a9c1-d0f056bcd62b" providerId="ADAL" clId="{6D74ED87-DB79-4CAF-BA45-025B60DFCFBD}" dt="2022-03-30T08:37:51.682" v="3165" actId="1037"/>
          <ac:spMkLst>
            <pc:docMk/>
            <pc:sldMk cId="1872906630" sldId="3528"/>
            <ac:spMk id="406" creationId="{878B37F1-4EC2-4453-9FEC-014DD2DAC532}"/>
          </ac:spMkLst>
        </pc:spChg>
        <pc:spChg chg="add mod">
          <ac:chgData name="Ojas Rajpal" userId="51f5808b-b899-4853-a9c1-d0f056bcd62b" providerId="ADAL" clId="{6D74ED87-DB79-4CAF-BA45-025B60DFCFBD}" dt="2022-03-30T08:37:51.682" v="3165" actId="1037"/>
          <ac:spMkLst>
            <pc:docMk/>
            <pc:sldMk cId="1872906630" sldId="3528"/>
            <ac:spMk id="407" creationId="{6328CCDC-79B5-49C9-833E-F02473478B0A}"/>
          </ac:spMkLst>
        </pc:spChg>
        <pc:spChg chg="add mod">
          <ac:chgData name="Ojas Rajpal" userId="51f5808b-b899-4853-a9c1-d0f056bcd62b" providerId="ADAL" clId="{6D74ED87-DB79-4CAF-BA45-025B60DFCFBD}" dt="2022-03-30T08:37:51.682" v="3165" actId="1037"/>
          <ac:spMkLst>
            <pc:docMk/>
            <pc:sldMk cId="1872906630" sldId="3528"/>
            <ac:spMk id="408" creationId="{54240099-D059-4DEA-B006-FD3A68B73231}"/>
          </ac:spMkLst>
        </pc:spChg>
        <pc:spChg chg="add mod">
          <ac:chgData name="Ojas Rajpal" userId="51f5808b-b899-4853-a9c1-d0f056bcd62b" providerId="ADAL" clId="{6D74ED87-DB79-4CAF-BA45-025B60DFCFBD}" dt="2022-03-30T08:37:51.682" v="3165" actId="1037"/>
          <ac:spMkLst>
            <pc:docMk/>
            <pc:sldMk cId="1872906630" sldId="3528"/>
            <ac:spMk id="409" creationId="{659E1982-D90F-44AC-9DEA-088F43E5FB3D}"/>
          </ac:spMkLst>
        </pc:spChg>
        <pc:spChg chg="add mod">
          <ac:chgData name="Ojas Rajpal" userId="51f5808b-b899-4853-a9c1-d0f056bcd62b" providerId="ADAL" clId="{6D74ED87-DB79-4CAF-BA45-025B60DFCFBD}" dt="2022-03-30T08:37:51.682" v="3165" actId="1037"/>
          <ac:spMkLst>
            <pc:docMk/>
            <pc:sldMk cId="1872906630" sldId="3528"/>
            <ac:spMk id="410" creationId="{0A37205D-CCC5-4BA7-ACA4-0C14B8084CE5}"/>
          </ac:spMkLst>
        </pc:spChg>
        <pc:spChg chg="add mod">
          <ac:chgData name="Ojas Rajpal" userId="51f5808b-b899-4853-a9c1-d0f056bcd62b" providerId="ADAL" clId="{6D74ED87-DB79-4CAF-BA45-025B60DFCFBD}" dt="2022-03-30T08:37:51.682" v="3165" actId="1037"/>
          <ac:spMkLst>
            <pc:docMk/>
            <pc:sldMk cId="1872906630" sldId="3528"/>
            <ac:spMk id="411" creationId="{3779A0B0-3323-455D-AB3A-505FA11B1894}"/>
          </ac:spMkLst>
        </pc:spChg>
        <pc:spChg chg="add mod">
          <ac:chgData name="Ojas Rajpal" userId="51f5808b-b899-4853-a9c1-d0f056bcd62b" providerId="ADAL" clId="{6D74ED87-DB79-4CAF-BA45-025B60DFCFBD}" dt="2022-03-30T08:37:51.682" v="3165" actId="1037"/>
          <ac:spMkLst>
            <pc:docMk/>
            <pc:sldMk cId="1872906630" sldId="3528"/>
            <ac:spMk id="412" creationId="{D172D398-B2F5-4F89-80B2-AFD82D8532CB}"/>
          </ac:spMkLst>
        </pc:spChg>
        <pc:spChg chg="add del mod">
          <ac:chgData name="Ojas Rajpal" userId="51f5808b-b899-4853-a9c1-d0f056bcd62b" providerId="ADAL" clId="{6D74ED87-DB79-4CAF-BA45-025B60DFCFBD}" dt="2022-03-30T08:26:08.370" v="2344" actId="478"/>
          <ac:spMkLst>
            <pc:docMk/>
            <pc:sldMk cId="1872906630" sldId="3528"/>
            <ac:spMk id="413" creationId="{27FF1E56-475B-4B7F-8CA9-5C45E1FC88B6}"/>
          </ac:spMkLst>
        </pc:spChg>
        <pc:spChg chg="add del mod">
          <ac:chgData name="Ojas Rajpal" userId="51f5808b-b899-4853-a9c1-d0f056bcd62b" providerId="ADAL" clId="{6D74ED87-DB79-4CAF-BA45-025B60DFCFBD}" dt="2022-03-30T08:26:08.370" v="2344" actId="478"/>
          <ac:spMkLst>
            <pc:docMk/>
            <pc:sldMk cId="1872906630" sldId="3528"/>
            <ac:spMk id="414" creationId="{47B0C480-9096-4331-B17B-03E0A0D17174}"/>
          </ac:spMkLst>
        </pc:spChg>
        <pc:spChg chg="add mod">
          <ac:chgData name="Ojas Rajpal" userId="51f5808b-b899-4853-a9c1-d0f056bcd62b" providerId="ADAL" clId="{6D74ED87-DB79-4CAF-BA45-025B60DFCFBD}" dt="2022-03-30T08:37:51.682" v="3165" actId="1037"/>
          <ac:spMkLst>
            <pc:docMk/>
            <pc:sldMk cId="1872906630" sldId="3528"/>
            <ac:spMk id="415" creationId="{01974B92-5DAD-49B8-892A-3477FF261D04}"/>
          </ac:spMkLst>
        </pc:spChg>
        <pc:spChg chg="add mod">
          <ac:chgData name="Ojas Rajpal" userId="51f5808b-b899-4853-a9c1-d0f056bcd62b" providerId="ADAL" clId="{6D74ED87-DB79-4CAF-BA45-025B60DFCFBD}" dt="2022-03-30T08:37:51.682" v="3165" actId="1037"/>
          <ac:spMkLst>
            <pc:docMk/>
            <pc:sldMk cId="1872906630" sldId="3528"/>
            <ac:spMk id="416" creationId="{0B151825-6DB1-409A-A7E5-E009A1279F1A}"/>
          </ac:spMkLst>
        </pc:spChg>
        <pc:spChg chg="add mod">
          <ac:chgData name="Ojas Rajpal" userId="51f5808b-b899-4853-a9c1-d0f056bcd62b" providerId="ADAL" clId="{6D74ED87-DB79-4CAF-BA45-025B60DFCFBD}" dt="2022-03-30T08:37:51.682" v="3165" actId="1037"/>
          <ac:spMkLst>
            <pc:docMk/>
            <pc:sldMk cId="1872906630" sldId="3528"/>
            <ac:spMk id="417" creationId="{43B5E308-CDA5-4512-9BC9-42DCDA210EB1}"/>
          </ac:spMkLst>
        </pc:spChg>
        <pc:spChg chg="add mod">
          <ac:chgData name="Ojas Rajpal" userId="51f5808b-b899-4853-a9c1-d0f056bcd62b" providerId="ADAL" clId="{6D74ED87-DB79-4CAF-BA45-025B60DFCFBD}" dt="2022-03-30T08:37:51.682" v="3165" actId="1037"/>
          <ac:spMkLst>
            <pc:docMk/>
            <pc:sldMk cId="1872906630" sldId="3528"/>
            <ac:spMk id="418" creationId="{0555F3D8-FE2F-4566-A144-DFA680131ADC}"/>
          </ac:spMkLst>
        </pc:spChg>
        <pc:spChg chg="add mod">
          <ac:chgData name="Ojas Rajpal" userId="51f5808b-b899-4853-a9c1-d0f056bcd62b" providerId="ADAL" clId="{6D74ED87-DB79-4CAF-BA45-025B60DFCFBD}" dt="2022-03-30T08:37:51.682" v="3165" actId="1037"/>
          <ac:spMkLst>
            <pc:docMk/>
            <pc:sldMk cId="1872906630" sldId="3528"/>
            <ac:spMk id="419" creationId="{2894637F-A8B3-48A3-A17B-2247953159C4}"/>
          </ac:spMkLst>
        </pc:spChg>
        <pc:spChg chg="add mod">
          <ac:chgData name="Ojas Rajpal" userId="51f5808b-b899-4853-a9c1-d0f056bcd62b" providerId="ADAL" clId="{6D74ED87-DB79-4CAF-BA45-025B60DFCFBD}" dt="2022-03-30T08:35:21.442" v="3064" actId="1037"/>
          <ac:spMkLst>
            <pc:docMk/>
            <pc:sldMk cId="1872906630" sldId="3528"/>
            <ac:spMk id="421" creationId="{E6B06047-6B89-4F75-BFB7-402074AE621F}"/>
          </ac:spMkLst>
        </pc:spChg>
        <pc:spChg chg="add mod">
          <ac:chgData name="Ojas Rajpal" userId="51f5808b-b899-4853-a9c1-d0f056bcd62b" providerId="ADAL" clId="{6D74ED87-DB79-4CAF-BA45-025B60DFCFBD}" dt="2022-03-30T08:35:21.442" v="3064" actId="1037"/>
          <ac:spMkLst>
            <pc:docMk/>
            <pc:sldMk cId="1872906630" sldId="3528"/>
            <ac:spMk id="422" creationId="{7180FAC8-FA59-4657-AD38-FE997EAAF3BA}"/>
          </ac:spMkLst>
        </pc:spChg>
        <pc:spChg chg="add mod">
          <ac:chgData name="Ojas Rajpal" userId="51f5808b-b899-4853-a9c1-d0f056bcd62b" providerId="ADAL" clId="{6D74ED87-DB79-4CAF-BA45-025B60DFCFBD}" dt="2022-03-30T08:35:43.946" v="3077" actId="1036"/>
          <ac:spMkLst>
            <pc:docMk/>
            <pc:sldMk cId="1872906630" sldId="3528"/>
            <ac:spMk id="423" creationId="{52E67085-5294-42F7-80CA-645EF3C7298D}"/>
          </ac:spMkLst>
        </pc:spChg>
        <pc:spChg chg="add mod">
          <ac:chgData name="Ojas Rajpal" userId="51f5808b-b899-4853-a9c1-d0f056bcd62b" providerId="ADAL" clId="{6D74ED87-DB79-4CAF-BA45-025B60DFCFBD}" dt="2022-03-30T08:35:43.946" v="3077" actId="1036"/>
          <ac:spMkLst>
            <pc:docMk/>
            <pc:sldMk cId="1872906630" sldId="3528"/>
            <ac:spMk id="424" creationId="{16191881-351C-4BBA-AB9A-B01D7DA8F4E3}"/>
          </ac:spMkLst>
        </pc:spChg>
        <pc:spChg chg="add mod">
          <ac:chgData name="Ojas Rajpal" userId="51f5808b-b899-4853-a9c1-d0f056bcd62b" providerId="ADAL" clId="{6D74ED87-DB79-4CAF-BA45-025B60DFCFBD}" dt="2022-03-30T08:35:21.442" v="3064" actId="1037"/>
          <ac:spMkLst>
            <pc:docMk/>
            <pc:sldMk cId="1872906630" sldId="3528"/>
            <ac:spMk id="425" creationId="{4F3BD9B7-322A-4D2E-9FA1-7AF628DD5106}"/>
          </ac:spMkLst>
        </pc:spChg>
        <pc:spChg chg="add mod">
          <ac:chgData name="Ojas Rajpal" userId="51f5808b-b899-4853-a9c1-d0f056bcd62b" providerId="ADAL" clId="{6D74ED87-DB79-4CAF-BA45-025B60DFCFBD}" dt="2022-03-30T08:35:21.442" v="3064" actId="1037"/>
          <ac:spMkLst>
            <pc:docMk/>
            <pc:sldMk cId="1872906630" sldId="3528"/>
            <ac:spMk id="426" creationId="{6ACD941A-C63D-4441-A539-E8FA5AD97C35}"/>
          </ac:spMkLst>
        </pc:spChg>
        <pc:spChg chg="add mod">
          <ac:chgData name="Ojas Rajpal" userId="51f5808b-b899-4853-a9c1-d0f056bcd62b" providerId="ADAL" clId="{6D74ED87-DB79-4CAF-BA45-025B60DFCFBD}" dt="2022-03-30T08:35:48.507" v="3080" actId="1036"/>
          <ac:spMkLst>
            <pc:docMk/>
            <pc:sldMk cId="1872906630" sldId="3528"/>
            <ac:spMk id="427" creationId="{6371550F-5915-4D86-9C95-EE8B7C7DDF09}"/>
          </ac:spMkLst>
        </pc:spChg>
        <pc:spChg chg="add mod">
          <ac:chgData name="Ojas Rajpal" userId="51f5808b-b899-4853-a9c1-d0f056bcd62b" providerId="ADAL" clId="{6D74ED87-DB79-4CAF-BA45-025B60DFCFBD}" dt="2022-03-30T08:35:48.507" v="3080" actId="1036"/>
          <ac:spMkLst>
            <pc:docMk/>
            <pc:sldMk cId="1872906630" sldId="3528"/>
            <ac:spMk id="428" creationId="{1A3FCDA3-48B2-41DF-AF30-96F5E456AC1F}"/>
          </ac:spMkLst>
        </pc:spChg>
        <pc:spChg chg="add mod">
          <ac:chgData name="Ojas Rajpal" userId="51f5808b-b899-4853-a9c1-d0f056bcd62b" providerId="ADAL" clId="{6D74ED87-DB79-4CAF-BA45-025B60DFCFBD}" dt="2022-03-30T08:35:21.442" v="3064" actId="1037"/>
          <ac:spMkLst>
            <pc:docMk/>
            <pc:sldMk cId="1872906630" sldId="3528"/>
            <ac:spMk id="429" creationId="{594E66F4-E4A3-4974-A88B-2DE31158866C}"/>
          </ac:spMkLst>
        </pc:spChg>
        <pc:spChg chg="add mod">
          <ac:chgData name="Ojas Rajpal" userId="51f5808b-b899-4853-a9c1-d0f056bcd62b" providerId="ADAL" clId="{6D74ED87-DB79-4CAF-BA45-025B60DFCFBD}" dt="2022-03-30T08:35:21.442" v="3064" actId="1037"/>
          <ac:spMkLst>
            <pc:docMk/>
            <pc:sldMk cId="1872906630" sldId="3528"/>
            <ac:spMk id="430" creationId="{6D1C3F9F-CAC9-4F92-A01C-6DB2ED2A0FAB}"/>
          </ac:spMkLst>
        </pc:spChg>
        <pc:spChg chg="mod">
          <ac:chgData name="Ojas Rajpal" userId="51f5808b-b899-4853-a9c1-d0f056bcd62b" providerId="ADAL" clId="{6D74ED87-DB79-4CAF-BA45-025B60DFCFBD}" dt="2022-03-30T08:37:32.033" v="3150" actId="404"/>
          <ac:spMkLst>
            <pc:docMk/>
            <pc:sldMk cId="1872906630" sldId="3528"/>
            <ac:spMk id="432" creationId="{CE2F799B-3C80-4328-B535-DB0DE62F447D}"/>
          </ac:spMkLst>
        </pc:spChg>
        <pc:spChg chg="mod">
          <ac:chgData name="Ojas Rajpal" userId="51f5808b-b899-4853-a9c1-d0f056bcd62b" providerId="ADAL" clId="{6D74ED87-DB79-4CAF-BA45-025B60DFCFBD}" dt="2022-03-30T08:37:32.033" v="3150" actId="404"/>
          <ac:spMkLst>
            <pc:docMk/>
            <pc:sldMk cId="1872906630" sldId="3528"/>
            <ac:spMk id="434" creationId="{F2B0326C-2047-4907-9B1C-99749ACC5D21}"/>
          </ac:spMkLst>
        </pc:spChg>
        <pc:spChg chg="mod">
          <ac:chgData name="Ojas Rajpal" userId="51f5808b-b899-4853-a9c1-d0f056bcd62b" providerId="ADAL" clId="{6D74ED87-DB79-4CAF-BA45-025B60DFCFBD}" dt="2022-03-30T08:37:32.033" v="3150" actId="404"/>
          <ac:spMkLst>
            <pc:docMk/>
            <pc:sldMk cId="1872906630" sldId="3528"/>
            <ac:spMk id="435" creationId="{742259B4-AA6B-432A-8C98-FE081E6233E9}"/>
          </ac:spMkLst>
        </pc:spChg>
        <pc:spChg chg="mod">
          <ac:chgData name="Ojas Rajpal" userId="51f5808b-b899-4853-a9c1-d0f056bcd62b" providerId="ADAL" clId="{6D74ED87-DB79-4CAF-BA45-025B60DFCFBD}" dt="2022-03-30T08:37:32.033" v="3150" actId="404"/>
          <ac:spMkLst>
            <pc:docMk/>
            <pc:sldMk cId="1872906630" sldId="3528"/>
            <ac:spMk id="436" creationId="{12F04BBB-46D6-448D-A604-FBC43C9AD9E5}"/>
          </ac:spMkLst>
        </pc:spChg>
        <pc:grpChg chg="del">
          <ac:chgData name="Ojas Rajpal" userId="51f5808b-b899-4853-a9c1-d0f056bcd62b" providerId="ADAL" clId="{6D74ED87-DB79-4CAF-BA45-025B60DFCFBD}" dt="2022-03-30T08:14:38.788" v="1298" actId="478"/>
          <ac:grpSpMkLst>
            <pc:docMk/>
            <pc:sldMk cId="1872906630" sldId="3528"/>
            <ac:grpSpMk id="2" creationId="{D5DD584B-30A5-49DD-9141-EE256047D965}"/>
          </ac:grpSpMkLst>
        </pc:grpChg>
        <pc:grpChg chg="del">
          <ac:chgData name="Ojas Rajpal" userId="51f5808b-b899-4853-a9c1-d0f056bcd62b" providerId="ADAL" clId="{6D74ED87-DB79-4CAF-BA45-025B60DFCFBD}" dt="2022-03-30T07:55:09.168" v="768" actId="478"/>
          <ac:grpSpMkLst>
            <pc:docMk/>
            <pc:sldMk cId="1872906630" sldId="3528"/>
            <ac:grpSpMk id="4" creationId="{4513B11A-1B87-49C1-9C66-14CC246BB1F3}"/>
          </ac:grpSpMkLst>
        </pc:grpChg>
        <pc:grpChg chg="add del mod">
          <ac:chgData name="Ojas Rajpal" userId="51f5808b-b899-4853-a9c1-d0f056bcd62b" providerId="ADAL" clId="{6D74ED87-DB79-4CAF-BA45-025B60DFCFBD}" dt="2022-03-30T07:57:11.759" v="774"/>
          <ac:grpSpMkLst>
            <pc:docMk/>
            <pc:sldMk cId="1872906630" sldId="3528"/>
            <ac:grpSpMk id="202" creationId="{722A0330-00E3-41A7-BD37-BCDB7B6FE434}"/>
          </ac:grpSpMkLst>
        </pc:grpChg>
        <pc:grpChg chg="mod">
          <ac:chgData name="Ojas Rajpal" userId="51f5808b-b899-4853-a9c1-d0f056bcd62b" providerId="ADAL" clId="{6D74ED87-DB79-4CAF-BA45-025B60DFCFBD}" dt="2022-03-30T07:57:10.690" v="773" actId="14100"/>
          <ac:grpSpMkLst>
            <pc:docMk/>
            <pc:sldMk cId="1872906630" sldId="3528"/>
            <ac:grpSpMk id="204" creationId="{CBE49FF1-FD87-4A23-A6B4-A66FBAB33C78}"/>
          </ac:grpSpMkLst>
        </pc:grpChg>
        <pc:grpChg chg="mod">
          <ac:chgData name="Ojas Rajpal" userId="51f5808b-b899-4853-a9c1-d0f056bcd62b" providerId="ADAL" clId="{6D74ED87-DB79-4CAF-BA45-025B60DFCFBD}" dt="2022-03-30T07:57:10.690" v="773" actId="14100"/>
          <ac:grpSpMkLst>
            <pc:docMk/>
            <pc:sldMk cId="1872906630" sldId="3528"/>
            <ac:grpSpMk id="207" creationId="{6721FFA8-F1CB-4182-B619-33090A14F8CA}"/>
          </ac:grpSpMkLst>
        </pc:grpChg>
        <pc:grpChg chg="mod">
          <ac:chgData name="Ojas Rajpal" userId="51f5808b-b899-4853-a9c1-d0f056bcd62b" providerId="ADAL" clId="{6D74ED87-DB79-4CAF-BA45-025B60DFCFBD}" dt="2022-03-30T07:57:10.690" v="773" actId="14100"/>
          <ac:grpSpMkLst>
            <pc:docMk/>
            <pc:sldMk cId="1872906630" sldId="3528"/>
            <ac:grpSpMk id="208" creationId="{A3195917-5CF4-4A0B-90D9-3346B70F55F6}"/>
          </ac:grpSpMkLst>
        </pc:grpChg>
        <pc:grpChg chg="mod">
          <ac:chgData name="Ojas Rajpal" userId="51f5808b-b899-4853-a9c1-d0f056bcd62b" providerId="ADAL" clId="{6D74ED87-DB79-4CAF-BA45-025B60DFCFBD}" dt="2022-03-30T07:57:10.690" v="773" actId="14100"/>
          <ac:grpSpMkLst>
            <pc:docMk/>
            <pc:sldMk cId="1872906630" sldId="3528"/>
            <ac:grpSpMk id="209" creationId="{247DB30F-913B-4192-8219-DB0E06243A93}"/>
          </ac:grpSpMkLst>
        </pc:grpChg>
        <pc:grpChg chg="mod">
          <ac:chgData name="Ojas Rajpal" userId="51f5808b-b899-4853-a9c1-d0f056bcd62b" providerId="ADAL" clId="{6D74ED87-DB79-4CAF-BA45-025B60DFCFBD}" dt="2022-03-30T07:57:10.690" v="773" actId="14100"/>
          <ac:grpSpMkLst>
            <pc:docMk/>
            <pc:sldMk cId="1872906630" sldId="3528"/>
            <ac:grpSpMk id="210" creationId="{A7742E0C-56F6-4832-9A38-09956A5017D4}"/>
          </ac:grpSpMkLst>
        </pc:grpChg>
        <pc:grpChg chg="mod">
          <ac:chgData name="Ojas Rajpal" userId="51f5808b-b899-4853-a9c1-d0f056bcd62b" providerId="ADAL" clId="{6D74ED87-DB79-4CAF-BA45-025B60DFCFBD}" dt="2022-03-30T07:57:10.690" v="773" actId="14100"/>
          <ac:grpSpMkLst>
            <pc:docMk/>
            <pc:sldMk cId="1872906630" sldId="3528"/>
            <ac:grpSpMk id="211" creationId="{07A536B6-99B5-4896-978E-9A426799E9E7}"/>
          </ac:grpSpMkLst>
        </pc:grpChg>
        <pc:grpChg chg="mod">
          <ac:chgData name="Ojas Rajpal" userId="51f5808b-b899-4853-a9c1-d0f056bcd62b" providerId="ADAL" clId="{6D74ED87-DB79-4CAF-BA45-025B60DFCFBD}" dt="2022-03-30T07:57:10.690" v="773" actId="14100"/>
          <ac:grpSpMkLst>
            <pc:docMk/>
            <pc:sldMk cId="1872906630" sldId="3528"/>
            <ac:grpSpMk id="219" creationId="{5BD658AD-C100-49B0-954F-01BBC2318BD9}"/>
          </ac:grpSpMkLst>
        </pc:grpChg>
        <pc:grpChg chg="mod">
          <ac:chgData name="Ojas Rajpal" userId="51f5808b-b899-4853-a9c1-d0f056bcd62b" providerId="ADAL" clId="{6D74ED87-DB79-4CAF-BA45-025B60DFCFBD}" dt="2022-03-30T07:57:10.690" v="773" actId="14100"/>
          <ac:grpSpMkLst>
            <pc:docMk/>
            <pc:sldMk cId="1872906630" sldId="3528"/>
            <ac:grpSpMk id="220" creationId="{9FEEF6CD-560C-47C4-B101-689F4661B14B}"/>
          </ac:grpSpMkLst>
        </pc:grpChg>
        <pc:grpChg chg="mod">
          <ac:chgData name="Ojas Rajpal" userId="51f5808b-b899-4853-a9c1-d0f056bcd62b" providerId="ADAL" clId="{6D74ED87-DB79-4CAF-BA45-025B60DFCFBD}" dt="2022-03-30T07:57:10.690" v="773" actId="14100"/>
          <ac:grpSpMkLst>
            <pc:docMk/>
            <pc:sldMk cId="1872906630" sldId="3528"/>
            <ac:grpSpMk id="221" creationId="{B2C01ED5-090C-43F0-939C-13EDFB1783DC}"/>
          </ac:grpSpMkLst>
        </pc:grpChg>
        <pc:grpChg chg="mod">
          <ac:chgData name="Ojas Rajpal" userId="51f5808b-b899-4853-a9c1-d0f056bcd62b" providerId="ADAL" clId="{6D74ED87-DB79-4CAF-BA45-025B60DFCFBD}" dt="2022-03-30T07:57:10.690" v="773" actId="14100"/>
          <ac:grpSpMkLst>
            <pc:docMk/>
            <pc:sldMk cId="1872906630" sldId="3528"/>
            <ac:grpSpMk id="259" creationId="{0B21EC50-D859-4D4F-A7CA-B7690171FB8E}"/>
          </ac:grpSpMkLst>
        </pc:grpChg>
        <pc:grpChg chg="mod">
          <ac:chgData name="Ojas Rajpal" userId="51f5808b-b899-4853-a9c1-d0f056bcd62b" providerId="ADAL" clId="{6D74ED87-DB79-4CAF-BA45-025B60DFCFBD}" dt="2022-03-30T07:57:10.690" v="773" actId="14100"/>
          <ac:grpSpMkLst>
            <pc:docMk/>
            <pc:sldMk cId="1872906630" sldId="3528"/>
            <ac:grpSpMk id="260" creationId="{0CA680F2-48F6-4750-9324-1AFA7DA22DDE}"/>
          </ac:grpSpMkLst>
        </pc:grpChg>
        <pc:grpChg chg="add del mod">
          <ac:chgData name="Ojas Rajpal" userId="51f5808b-b899-4853-a9c1-d0f056bcd62b" providerId="ADAL" clId="{6D74ED87-DB79-4CAF-BA45-025B60DFCFBD}" dt="2022-03-30T07:58:06.985" v="804" actId="478"/>
          <ac:grpSpMkLst>
            <pc:docMk/>
            <pc:sldMk cId="1872906630" sldId="3528"/>
            <ac:grpSpMk id="265" creationId="{8C209BA7-7171-478F-A22F-7125FCB3BBFB}"/>
          </ac:grpSpMkLst>
        </pc:grpChg>
        <pc:grpChg chg="mod">
          <ac:chgData name="Ojas Rajpal" userId="51f5808b-b899-4853-a9c1-d0f056bcd62b" providerId="ADAL" clId="{6D74ED87-DB79-4CAF-BA45-025B60DFCFBD}" dt="2022-03-30T07:58:04.420" v="803" actId="14100"/>
          <ac:grpSpMkLst>
            <pc:docMk/>
            <pc:sldMk cId="1872906630" sldId="3528"/>
            <ac:grpSpMk id="266" creationId="{9AC2507D-ACBD-45FA-869A-575E67F0F315}"/>
          </ac:grpSpMkLst>
        </pc:grpChg>
        <pc:grpChg chg="mod">
          <ac:chgData name="Ojas Rajpal" userId="51f5808b-b899-4853-a9c1-d0f056bcd62b" providerId="ADAL" clId="{6D74ED87-DB79-4CAF-BA45-025B60DFCFBD}" dt="2022-03-30T07:58:04.420" v="803" actId="14100"/>
          <ac:grpSpMkLst>
            <pc:docMk/>
            <pc:sldMk cId="1872906630" sldId="3528"/>
            <ac:grpSpMk id="269" creationId="{C3517097-4398-49C7-9D8A-E70A8D9AFB6F}"/>
          </ac:grpSpMkLst>
        </pc:grpChg>
        <pc:grpChg chg="mod">
          <ac:chgData name="Ojas Rajpal" userId="51f5808b-b899-4853-a9c1-d0f056bcd62b" providerId="ADAL" clId="{6D74ED87-DB79-4CAF-BA45-025B60DFCFBD}" dt="2022-03-30T07:58:04.420" v="803" actId="14100"/>
          <ac:grpSpMkLst>
            <pc:docMk/>
            <pc:sldMk cId="1872906630" sldId="3528"/>
            <ac:grpSpMk id="270" creationId="{8452DBCE-6AA2-418A-87DE-70F9E9A479CD}"/>
          </ac:grpSpMkLst>
        </pc:grpChg>
        <pc:grpChg chg="mod">
          <ac:chgData name="Ojas Rajpal" userId="51f5808b-b899-4853-a9c1-d0f056bcd62b" providerId="ADAL" clId="{6D74ED87-DB79-4CAF-BA45-025B60DFCFBD}" dt="2022-03-30T07:58:04.420" v="803" actId="14100"/>
          <ac:grpSpMkLst>
            <pc:docMk/>
            <pc:sldMk cId="1872906630" sldId="3528"/>
            <ac:grpSpMk id="271" creationId="{7867433A-56F5-4590-BFF0-2DDB10E9C12A}"/>
          </ac:grpSpMkLst>
        </pc:grpChg>
        <pc:grpChg chg="mod">
          <ac:chgData name="Ojas Rajpal" userId="51f5808b-b899-4853-a9c1-d0f056bcd62b" providerId="ADAL" clId="{6D74ED87-DB79-4CAF-BA45-025B60DFCFBD}" dt="2022-03-30T07:58:04.420" v="803" actId="14100"/>
          <ac:grpSpMkLst>
            <pc:docMk/>
            <pc:sldMk cId="1872906630" sldId="3528"/>
            <ac:grpSpMk id="272" creationId="{8E2F9C98-4DE6-4566-BE82-AE647B84C151}"/>
          </ac:grpSpMkLst>
        </pc:grpChg>
        <pc:grpChg chg="mod">
          <ac:chgData name="Ojas Rajpal" userId="51f5808b-b899-4853-a9c1-d0f056bcd62b" providerId="ADAL" clId="{6D74ED87-DB79-4CAF-BA45-025B60DFCFBD}" dt="2022-03-30T07:58:04.420" v="803" actId="14100"/>
          <ac:grpSpMkLst>
            <pc:docMk/>
            <pc:sldMk cId="1872906630" sldId="3528"/>
            <ac:grpSpMk id="273" creationId="{019291D2-F392-4C43-A872-8FA28616101F}"/>
          </ac:grpSpMkLst>
        </pc:grpChg>
        <pc:grpChg chg="mod">
          <ac:chgData name="Ojas Rajpal" userId="51f5808b-b899-4853-a9c1-d0f056bcd62b" providerId="ADAL" clId="{6D74ED87-DB79-4CAF-BA45-025B60DFCFBD}" dt="2022-03-30T07:58:04.420" v="803" actId="14100"/>
          <ac:grpSpMkLst>
            <pc:docMk/>
            <pc:sldMk cId="1872906630" sldId="3528"/>
            <ac:grpSpMk id="281" creationId="{C62D1731-734C-4EE9-8EEA-F4C4B049FF56}"/>
          </ac:grpSpMkLst>
        </pc:grpChg>
        <pc:grpChg chg="mod">
          <ac:chgData name="Ojas Rajpal" userId="51f5808b-b899-4853-a9c1-d0f056bcd62b" providerId="ADAL" clId="{6D74ED87-DB79-4CAF-BA45-025B60DFCFBD}" dt="2022-03-30T07:58:04.420" v="803" actId="14100"/>
          <ac:grpSpMkLst>
            <pc:docMk/>
            <pc:sldMk cId="1872906630" sldId="3528"/>
            <ac:grpSpMk id="282" creationId="{3FA5C628-3463-4D7C-A9FE-3CD3CE1B29AF}"/>
          </ac:grpSpMkLst>
        </pc:grpChg>
        <pc:grpChg chg="mod">
          <ac:chgData name="Ojas Rajpal" userId="51f5808b-b899-4853-a9c1-d0f056bcd62b" providerId="ADAL" clId="{6D74ED87-DB79-4CAF-BA45-025B60DFCFBD}" dt="2022-03-30T07:58:04.420" v="803" actId="14100"/>
          <ac:grpSpMkLst>
            <pc:docMk/>
            <pc:sldMk cId="1872906630" sldId="3528"/>
            <ac:grpSpMk id="283" creationId="{5BB0D8B5-67A1-4315-853B-04CA54855D50}"/>
          </ac:grpSpMkLst>
        </pc:grpChg>
        <pc:grpChg chg="mod">
          <ac:chgData name="Ojas Rajpal" userId="51f5808b-b899-4853-a9c1-d0f056bcd62b" providerId="ADAL" clId="{6D74ED87-DB79-4CAF-BA45-025B60DFCFBD}" dt="2022-03-30T07:58:04.420" v="803" actId="14100"/>
          <ac:grpSpMkLst>
            <pc:docMk/>
            <pc:sldMk cId="1872906630" sldId="3528"/>
            <ac:grpSpMk id="321" creationId="{5AC7D62E-118A-4269-A67D-A098F59A4393}"/>
          </ac:grpSpMkLst>
        </pc:grpChg>
        <pc:grpChg chg="mod">
          <ac:chgData name="Ojas Rajpal" userId="51f5808b-b899-4853-a9c1-d0f056bcd62b" providerId="ADAL" clId="{6D74ED87-DB79-4CAF-BA45-025B60DFCFBD}" dt="2022-03-30T07:58:04.420" v="803" actId="14100"/>
          <ac:grpSpMkLst>
            <pc:docMk/>
            <pc:sldMk cId="1872906630" sldId="3528"/>
            <ac:grpSpMk id="322" creationId="{070D26B2-5839-492F-A249-C4AE3F247731}"/>
          </ac:grpSpMkLst>
        </pc:grpChg>
        <pc:grpChg chg="add mod">
          <ac:chgData name="Ojas Rajpal" userId="51f5808b-b899-4853-a9c1-d0f056bcd62b" providerId="ADAL" clId="{6D74ED87-DB79-4CAF-BA45-025B60DFCFBD}" dt="2022-03-30T08:10:50.022" v="1211" actId="1036"/>
          <ac:grpSpMkLst>
            <pc:docMk/>
            <pc:sldMk cId="1872906630" sldId="3528"/>
            <ac:grpSpMk id="327" creationId="{A6187B75-9832-4960-BB56-E4573FB9819B}"/>
          </ac:grpSpMkLst>
        </pc:grpChg>
        <pc:grpChg chg="mod">
          <ac:chgData name="Ojas Rajpal" userId="51f5808b-b899-4853-a9c1-d0f056bcd62b" providerId="ADAL" clId="{6D74ED87-DB79-4CAF-BA45-025B60DFCFBD}" dt="2022-03-30T08:10:50.022" v="1211" actId="1036"/>
          <ac:grpSpMkLst>
            <pc:docMk/>
            <pc:sldMk cId="1872906630" sldId="3528"/>
            <ac:grpSpMk id="329" creationId="{9FC972B0-1F9C-4A96-B58E-01EF803FC3D1}"/>
          </ac:grpSpMkLst>
        </pc:grpChg>
        <pc:grpChg chg="mod">
          <ac:chgData name="Ojas Rajpal" userId="51f5808b-b899-4853-a9c1-d0f056bcd62b" providerId="ADAL" clId="{6D74ED87-DB79-4CAF-BA45-025B60DFCFBD}" dt="2022-03-30T08:10:50.022" v="1211" actId="1036"/>
          <ac:grpSpMkLst>
            <pc:docMk/>
            <pc:sldMk cId="1872906630" sldId="3528"/>
            <ac:grpSpMk id="330" creationId="{98048172-67FF-41B1-9B58-2E10802DF3DA}"/>
          </ac:grpSpMkLst>
        </pc:grpChg>
        <pc:grpChg chg="mod">
          <ac:chgData name="Ojas Rajpal" userId="51f5808b-b899-4853-a9c1-d0f056bcd62b" providerId="ADAL" clId="{6D74ED87-DB79-4CAF-BA45-025B60DFCFBD}" dt="2022-03-30T08:10:50.022" v="1211" actId="1036"/>
          <ac:grpSpMkLst>
            <pc:docMk/>
            <pc:sldMk cId="1872906630" sldId="3528"/>
            <ac:grpSpMk id="331" creationId="{4634B6BA-E26D-44E3-B1E7-34FB48B36669}"/>
          </ac:grpSpMkLst>
        </pc:grpChg>
        <pc:grpChg chg="mod">
          <ac:chgData name="Ojas Rajpal" userId="51f5808b-b899-4853-a9c1-d0f056bcd62b" providerId="ADAL" clId="{6D74ED87-DB79-4CAF-BA45-025B60DFCFBD}" dt="2022-03-30T08:10:50.022" v="1211" actId="1036"/>
          <ac:grpSpMkLst>
            <pc:docMk/>
            <pc:sldMk cId="1872906630" sldId="3528"/>
            <ac:grpSpMk id="332" creationId="{890FE9B1-524A-425D-995D-9201DA882870}"/>
          </ac:grpSpMkLst>
        </pc:grpChg>
        <pc:grpChg chg="mod">
          <ac:chgData name="Ojas Rajpal" userId="51f5808b-b899-4853-a9c1-d0f056bcd62b" providerId="ADAL" clId="{6D74ED87-DB79-4CAF-BA45-025B60DFCFBD}" dt="2022-03-30T08:10:50.022" v="1211" actId="1036"/>
          <ac:grpSpMkLst>
            <pc:docMk/>
            <pc:sldMk cId="1872906630" sldId="3528"/>
            <ac:grpSpMk id="333" creationId="{0193E807-A0B0-4A41-B139-8DE23C2B3D2F}"/>
          </ac:grpSpMkLst>
        </pc:grpChg>
        <pc:grpChg chg="mod">
          <ac:chgData name="Ojas Rajpal" userId="51f5808b-b899-4853-a9c1-d0f056bcd62b" providerId="ADAL" clId="{6D74ED87-DB79-4CAF-BA45-025B60DFCFBD}" dt="2022-03-30T08:10:50.022" v="1211" actId="1036"/>
          <ac:grpSpMkLst>
            <pc:docMk/>
            <pc:sldMk cId="1872906630" sldId="3528"/>
            <ac:grpSpMk id="336" creationId="{B6C91F39-BAF4-490D-BF8E-F8D525D68A81}"/>
          </ac:grpSpMkLst>
        </pc:grpChg>
        <pc:grpChg chg="mod">
          <ac:chgData name="Ojas Rajpal" userId="51f5808b-b899-4853-a9c1-d0f056bcd62b" providerId="ADAL" clId="{6D74ED87-DB79-4CAF-BA45-025B60DFCFBD}" dt="2022-03-30T08:10:50.022" v="1211" actId="1036"/>
          <ac:grpSpMkLst>
            <pc:docMk/>
            <pc:sldMk cId="1872906630" sldId="3528"/>
            <ac:grpSpMk id="337" creationId="{B4C78D3A-2300-4D5E-A667-93B12A532DF0}"/>
          </ac:grpSpMkLst>
        </pc:grpChg>
        <pc:grpChg chg="mod">
          <ac:chgData name="Ojas Rajpal" userId="51f5808b-b899-4853-a9c1-d0f056bcd62b" providerId="ADAL" clId="{6D74ED87-DB79-4CAF-BA45-025B60DFCFBD}" dt="2022-03-30T08:10:50.022" v="1211" actId="1036"/>
          <ac:grpSpMkLst>
            <pc:docMk/>
            <pc:sldMk cId="1872906630" sldId="3528"/>
            <ac:grpSpMk id="338" creationId="{C22AB891-3575-4A6D-97F0-DA83EC651CD6}"/>
          </ac:grpSpMkLst>
        </pc:grpChg>
        <pc:grpChg chg="add mod">
          <ac:chgData name="Ojas Rajpal" userId="51f5808b-b899-4853-a9c1-d0f056bcd62b" providerId="ADAL" clId="{6D74ED87-DB79-4CAF-BA45-025B60DFCFBD}" dt="2022-03-30T08:10:50.022" v="1211" actId="1036"/>
          <ac:grpSpMkLst>
            <pc:docMk/>
            <pc:sldMk cId="1872906630" sldId="3528"/>
            <ac:grpSpMk id="375" creationId="{D57FF2F5-8A06-4A13-A13D-EA49C324C7C2}"/>
          </ac:grpSpMkLst>
        </pc:grpChg>
        <pc:grpChg chg="mod">
          <ac:chgData name="Ojas Rajpal" userId="51f5808b-b899-4853-a9c1-d0f056bcd62b" providerId="ADAL" clId="{6D74ED87-DB79-4CAF-BA45-025B60DFCFBD}" dt="2022-03-30T08:10:50.022" v="1211" actId="1036"/>
          <ac:grpSpMkLst>
            <pc:docMk/>
            <pc:sldMk cId="1872906630" sldId="3528"/>
            <ac:grpSpMk id="376" creationId="{76B88DD4-5421-4140-A9DA-A7836BEE539A}"/>
          </ac:grpSpMkLst>
        </pc:grpChg>
        <pc:grpChg chg="mod">
          <ac:chgData name="Ojas Rajpal" userId="51f5808b-b899-4853-a9c1-d0f056bcd62b" providerId="ADAL" clId="{6D74ED87-DB79-4CAF-BA45-025B60DFCFBD}" dt="2022-03-30T08:10:50.022" v="1211" actId="1036"/>
          <ac:grpSpMkLst>
            <pc:docMk/>
            <pc:sldMk cId="1872906630" sldId="3528"/>
            <ac:grpSpMk id="377" creationId="{A3ADCA2A-A788-48A7-9ADA-F5220BE580CC}"/>
          </ac:grpSpMkLst>
        </pc:grpChg>
        <pc:grpChg chg="add del mod">
          <ac:chgData name="Ojas Rajpal" userId="51f5808b-b899-4853-a9c1-d0f056bcd62b" providerId="ADAL" clId="{6D74ED87-DB79-4CAF-BA45-025B60DFCFBD}" dt="2022-03-30T08:21:25.141" v="1573" actId="165"/>
          <ac:grpSpMkLst>
            <pc:docMk/>
            <pc:sldMk cId="1872906630" sldId="3528"/>
            <ac:grpSpMk id="391" creationId="{6BE76B1A-1743-4C9E-9312-0BC063E9449D}"/>
          </ac:grpSpMkLst>
        </pc:grpChg>
        <pc:grpChg chg="add del mod">
          <ac:chgData name="Ojas Rajpal" userId="51f5808b-b899-4853-a9c1-d0f056bcd62b" providerId="ADAL" clId="{6D74ED87-DB79-4CAF-BA45-025B60DFCFBD}" dt="2022-03-30T08:18:52.688" v="1394" actId="165"/>
          <ac:grpSpMkLst>
            <pc:docMk/>
            <pc:sldMk cId="1872906630" sldId="3528"/>
            <ac:grpSpMk id="394" creationId="{19B684C2-B953-421D-A61B-724DDF9E17A9}"/>
          </ac:grpSpMkLst>
        </pc:grpChg>
        <pc:grpChg chg="add del mod">
          <ac:chgData name="Ojas Rajpal" userId="51f5808b-b899-4853-a9c1-d0f056bcd62b" providerId="ADAL" clId="{6D74ED87-DB79-4CAF-BA45-025B60DFCFBD}" dt="2022-03-30T08:18:52.688" v="1394" actId="165"/>
          <ac:grpSpMkLst>
            <pc:docMk/>
            <pc:sldMk cId="1872906630" sldId="3528"/>
            <ac:grpSpMk id="397" creationId="{98572F8F-0CEA-40D3-9E7C-F325ED6FB600}"/>
          </ac:grpSpMkLst>
        </pc:grpChg>
        <pc:grpChg chg="add mod">
          <ac:chgData name="Ojas Rajpal" userId="51f5808b-b899-4853-a9c1-d0f056bcd62b" providerId="ADAL" clId="{6D74ED87-DB79-4CAF-BA45-025B60DFCFBD}" dt="2022-03-30T08:42:32.842" v="3271" actId="1036"/>
          <ac:grpSpMkLst>
            <pc:docMk/>
            <pc:sldMk cId="1872906630" sldId="3528"/>
            <ac:grpSpMk id="431" creationId="{F65ACBAA-1C23-4712-80CF-90A0DFBE3F5D}"/>
          </ac:grpSpMkLst>
        </pc:grpChg>
        <pc:grpChg chg="mod">
          <ac:chgData name="Ojas Rajpal" userId="51f5808b-b899-4853-a9c1-d0f056bcd62b" providerId="ADAL" clId="{6D74ED87-DB79-4CAF-BA45-025B60DFCFBD}" dt="2022-03-30T08:37:24.893" v="3101"/>
          <ac:grpSpMkLst>
            <pc:docMk/>
            <pc:sldMk cId="1872906630" sldId="3528"/>
            <ac:grpSpMk id="433" creationId="{D068D421-6528-42CD-B944-74CE16EE026F}"/>
          </ac:grpSpMkLst>
        </pc:grpChg>
        <pc:grpChg chg="add mod">
          <ac:chgData name="Ojas Rajpal" userId="51f5808b-b899-4853-a9c1-d0f056bcd62b" providerId="ADAL" clId="{6D74ED87-DB79-4CAF-BA45-025B60DFCFBD}" dt="2022-03-30T08:42:32.842" v="3271" actId="1036"/>
          <ac:grpSpMkLst>
            <pc:docMk/>
            <pc:sldMk cId="1872906630" sldId="3528"/>
            <ac:grpSpMk id="438" creationId="{97E2CD95-1B50-4EFB-AF1D-ABC6754E9A4B}"/>
          </ac:grpSpMkLst>
        </pc:grpChg>
        <pc:graphicFrameChg chg="mod ord modGraphic">
          <ac:chgData name="Ojas Rajpal" userId="51f5808b-b899-4853-a9c1-d0f056bcd62b" providerId="ADAL" clId="{6D74ED87-DB79-4CAF-BA45-025B60DFCFBD}" dt="2022-03-30T08:37:12.211" v="3100" actId="20577"/>
          <ac:graphicFrameMkLst>
            <pc:docMk/>
            <pc:sldMk cId="1872906630" sldId="3528"/>
            <ac:graphicFrameMk id="27" creationId="{1D6C8B76-4277-4DBD-9D74-124E6BA7800C}"/>
          </ac:graphicFrameMkLst>
        </pc:graphicFrameChg>
        <pc:graphicFrameChg chg="del">
          <ac:chgData name="Ojas Rajpal" userId="51f5808b-b899-4853-a9c1-d0f056bcd62b" providerId="ADAL" clId="{6D74ED87-DB79-4CAF-BA45-025B60DFCFBD}" dt="2022-03-30T07:52:07.055" v="763" actId="478"/>
          <ac:graphicFrameMkLst>
            <pc:docMk/>
            <pc:sldMk cId="1872906630" sldId="3528"/>
            <ac:graphicFrameMk id="28" creationId="{C97EECB1-3B43-4A72-956B-CC66B81FC8E8}"/>
          </ac:graphicFrameMkLst>
        </pc:graphicFrameChg>
        <pc:graphicFrameChg chg="del">
          <ac:chgData name="Ojas Rajpal" userId="51f5808b-b899-4853-a9c1-d0f056bcd62b" providerId="ADAL" clId="{6D74ED87-DB79-4CAF-BA45-025B60DFCFBD}" dt="2022-03-30T08:26:34.577" v="2347" actId="478"/>
          <ac:graphicFrameMkLst>
            <pc:docMk/>
            <pc:sldMk cId="1872906630" sldId="3528"/>
            <ac:graphicFrameMk id="95" creationId="{D5091ADA-EA24-484C-85F8-B739D21E699E}"/>
          </ac:graphicFrameMkLst>
        </pc:graphicFrameChg>
        <pc:graphicFrameChg chg="del">
          <ac:chgData name="Ojas Rajpal" userId="51f5808b-b899-4853-a9c1-d0f056bcd62b" providerId="ADAL" clId="{6D74ED87-DB79-4CAF-BA45-025B60DFCFBD}" dt="2022-03-30T08:26:34.577" v="2347" actId="478"/>
          <ac:graphicFrameMkLst>
            <pc:docMk/>
            <pc:sldMk cId="1872906630" sldId="3528"/>
            <ac:graphicFrameMk id="96" creationId="{B3CCD433-ED11-443E-97FE-34B9190C9E97}"/>
          </ac:graphicFrameMkLst>
        </pc:graphicFrameChg>
        <pc:graphicFrameChg chg="del">
          <ac:chgData name="Ojas Rajpal" userId="51f5808b-b899-4853-a9c1-d0f056bcd62b" providerId="ADAL" clId="{6D74ED87-DB79-4CAF-BA45-025B60DFCFBD}" dt="2022-03-30T08:25:17.743" v="2331" actId="478"/>
          <ac:graphicFrameMkLst>
            <pc:docMk/>
            <pc:sldMk cId="1872906630" sldId="3528"/>
            <ac:graphicFrameMk id="146" creationId="{B524CD9E-80A8-44B4-B967-73D86C0BD011}"/>
          </ac:graphicFrameMkLst>
        </pc:graphicFrameChg>
        <pc:graphicFrameChg chg="del">
          <ac:chgData name="Ojas Rajpal" userId="51f5808b-b899-4853-a9c1-d0f056bcd62b" providerId="ADAL" clId="{6D74ED87-DB79-4CAF-BA45-025B60DFCFBD}" dt="2022-03-30T08:25:17.743" v="2331" actId="478"/>
          <ac:graphicFrameMkLst>
            <pc:docMk/>
            <pc:sldMk cId="1872906630" sldId="3528"/>
            <ac:graphicFrameMk id="156" creationId="{A9A7A854-79DE-4712-B4AD-AB433D59A239}"/>
          </ac:graphicFrameMkLst>
        </pc:graphicFrameChg>
        <pc:graphicFrameChg chg="del">
          <ac:chgData name="Ojas Rajpal" userId="51f5808b-b899-4853-a9c1-d0f056bcd62b" providerId="ADAL" clId="{6D74ED87-DB79-4CAF-BA45-025B60DFCFBD}" dt="2022-03-30T08:25:17.743" v="2331" actId="478"/>
          <ac:graphicFrameMkLst>
            <pc:docMk/>
            <pc:sldMk cId="1872906630" sldId="3528"/>
            <ac:graphicFrameMk id="165" creationId="{3A9CACBF-FF01-4EC2-8F5B-5A8233B9C1AE}"/>
          </ac:graphicFrameMkLst>
        </pc:graphicFrameChg>
        <pc:graphicFrameChg chg="del">
          <ac:chgData name="Ojas Rajpal" userId="51f5808b-b899-4853-a9c1-d0f056bcd62b" providerId="ADAL" clId="{6D74ED87-DB79-4CAF-BA45-025B60DFCFBD}" dt="2022-03-30T08:26:38.821" v="2348" actId="478"/>
          <ac:graphicFrameMkLst>
            <pc:docMk/>
            <pc:sldMk cId="1872906630" sldId="3528"/>
            <ac:graphicFrameMk id="174" creationId="{1830B8A3-AD3A-4BBD-89E7-C1069F258EFA}"/>
          </ac:graphicFrameMkLst>
        </pc:graphicFrameChg>
        <pc:graphicFrameChg chg="del">
          <ac:chgData name="Ojas Rajpal" userId="51f5808b-b899-4853-a9c1-d0f056bcd62b" providerId="ADAL" clId="{6D74ED87-DB79-4CAF-BA45-025B60DFCFBD}" dt="2022-03-30T08:26:38.821" v="2348" actId="478"/>
          <ac:graphicFrameMkLst>
            <pc:docMk/>
            <pc:sldMk cId="1872906630" sldId="3528"/>
            <ac:graphicFrameMk id="183" creationId="{C1501492-8BA3-4EC1-B4D3-72C371665D6F}"/>
          </ac:graphicFrameMkLst>
        </pc:graphicFrameChg>
        <pc:graphicFrameChg chg="del">
          <ac:chgData name="Ojas Rajpal" userId="51f5808b-b899-4853-a9c1-d0f056bcd62b" providerId="ADAL" clId="{6D74ED87-DB79-4CAF-BA45-025B60DFCFBD}" dt="2022-03-30T08:26:38.821" v="2348" actId="478"/>
          <ac:graphicFrameMkLst>
            <pc:docMk/>
            <pc:sldMk cId="1872906630" sldId="3528"/>
            <ac:graphicFrameMk id="192" creationId="{E07EF785-C899-40AC-B5A3-FCE2A7104744}"/>
          </ac:graphicFrameMkLst>
        </pc:graphicFrameChg>
        <pc:graphicFrameChg chg="add mod modGraphic">
          <ac:chgData name="Ojas Rajpal" userId="51f5808b-b899-4853-a9c1-d0f056bcd62b" providerId="ADAL" clId="{6D74ED87-DB79-4CAF-BA45-025B60DFCFBD}" dt="2022-03-30T08:37:51.682" v="3165" actId="1037"/>
          <ac:graphicFrameMkLst>
            <pc:docMk/>
            <pc:sldMk cId="1872906630" sldId="3528"/>
            <ac:graphicFrameMk id="390" creationId="{23EB1F08-757C-40CA-A79A-90D316F33237}"/>
          </ac:graphicFrameMkLst>
        </pc:graphicFrameChg>
        <pc:graphicFrameChg chg="add mod modGraphic">
          <ac:chgData name="Ojas Rajpal" userId="51f5808b-b899-4853-a9c1-d0f056bcd62b" providerId="ADAL" clId="{6D74ED87-DB79-4CAF-BA45-025B60DFCFBD}" dt="2022-03-30T08:35:21.442" v="3064" actId="1037"/>
          <ac:graphicFrameMkLst>
            <pc:docMk/>
            <pc:sldMk cId="1872906630" sldId="3528"/>
            <ac:graphicFrameMk id="420" creationId="{0223B758-30E9-4156-83CF-B44602A3AC08}"/>
          </ac:graphicFrameMkLst>
        </pc:graphicFrameChg>
        <pc:graphicFrameChg chg="add mod modGraphic">
          <ac:chgData name="Ojas Rajpal" userId="51f5808b-b899-4853-a9c1-d0f056bcd62b" providerId="ADAL" clId="{6D74ED87-DB79-4CAF-BA45-025B60DFCFBD}" dt="2022-03-30T08:42:32.842" v="3271" actId="1036"/>
          <ac:graphicFrameMkLst>
            <pc:docMk/>
            <pc:sldMk cId="1872906630" sldId="3528"/>
            <ac:graphicFrameMk id="437" creationId="{62DE71CE-ED2F-46F4-A92F-1CA055775173}"/>
          </ac:graphicFrameMkLst>
        </pc:graphicFrameChg>
        <pc:cxnChg chg="del">
          <ac:chgData name="Ojas Rajpal" userId="51f5808b-b899-4853-a9c1-d0f056bcd62b" providerId="ADAL" clId="{6D74ED87-DB79-4CAF-BA45-025B60DFCFBD}" dt="2022-03-30T08:26:38.821" v="2348" actId="478"/>
          <ac:cxnSpMkLst>
            <pc:docMk/>
            <pc:sldMk cId="1872906630" sldId="3528"/>
            <ac:cxnSpMk id="154" creationId="{A539A24F-A7B6-4DC4-8415-74D614B3C2B1}"/>
          </ac:cxnSpMkLst>
        </pc:cxnChg>
        <pc:cxnChg chg="del">
          <ac:chgData name="Ojas Rajpal" userId="51f5808b-b899-4853-a9c1-d0f056bcd62b" providerId="ADAL" clId="{6D74ED87-DB79-4CAF-BA45-025B60DFCFBD}" dt="2022-03-30T08:26:38.821" v="2348" actId="478"/>
          <ac:cxnSpMkLst>
            <pc:docMk/>
            <pc:sldMk cId="1872906630" sldId="3528"/>
            <ac:cxnSpMk id="200" creationId="{DD796CD0-5405-4C60-8271-0841E6D20B1C}"/>
          </ac:cxnSpMkLst>
        </pc:cxnChg>
        <pc:cxnChg chg="del">
          <ac:chgData name="Ojas Rajpal" userId="51f5808b-b899-4853-a9c1-d0f056bcd62b" providerId="ADAL" clId="{6D74ED87-DB79-4CAF-BA45-025B60DFCFBD}" dt="2022-03-30T08:26:38.821" v="2348" actId="478"/>
          <ac:cxnSpMkLst>
            <pc:docMk/>
            <pc:sldMk cId="1872906630" sldId="3528"/>
            <ac:cxnSpMk id="201" creationId="{1C0D35F0-42B0-44EE-ADC2-28E4A8104ADE}"/>
          </ac:cxnSpMkLst>
        </pc:cxnChg>
        <pc:cxnChg chg="mod">
          <ac:chgData name="Ojas Rajpal" userId="51f5808b-b899-4853-a9c1-d0f056bcd62b" providerId="ADAL" clId="{6D74ED87-DB79-4CAF-BA45-025B60DFCFBD}" dt="2022-03-30T07:57:10.690" v="773" actId="14100"/>
          <ac:cxnSpMkLst>
            <pc:docMk/>
            <pc:sldMk cId="1872906630" sldId="3528"/>
            <ac:cxnSpMk id="205" creationId="{E34A1097-B5A6-444D-94C7-5841290E9D66}"/>
          </ac:cxnSpMkLst>
        </pc:cxnChg>
        <pc:cxnChg chg="mod">
          <ac:chgData name="Ojas Rajpal" userId="51f5808b-b899-4853-a9c1-d0f056bcd62b" providerId="ADAL" clId="{6D74ED87-DB79-4CAF-BA45-025B60DFCFBD}" dt="2022-03-30T07:57:10.690" v="773" actId="14100"/>
          <ac:cxnSpMkLst>
            <pc:docMk/>
            <pc:sldMk cId="1872906630" sldId="3528"/>
            <ac:cxnSpMk id="206" creationId="{9FC6759C-FDEC-421C-BE03-FE11BCA1254D}"/>
          </ac:cxnSpMkLst>
        </pc:cxnChg>
        <pc:cxnChg chg="mod">
          <ac:chgData name="Ojas Rajpal" userId="51f5808b-b899-4853-a9c1-d0f056bcd62b" providerId="ADAL" clId="{6D74ED87-DB79-4CAF-BA45-025B60DFCFBD}" dt="2022-03-30T07:57:10.690" v="773" actId="14100"/>
          <ac:cxnSpMkLst>
            <pc:docMk/>
            <pc:sldMk cId="1872906630" sldId="3528"/>
            <ac:cxnSpMk id="222" creationId="{63757D11-DEBD-4806-8E67-A2A23954D8D5}"/>
          </ac:cxnSpMkLst>
        </pc:cxnChg>
        <pc:cxnChg chg="mod">
          <ac:chgData name="Ojas Rajpal" userId="51f5808b-b899-4853-a9c1-d0f056bcd62b" providerId="ADAL" clId="{6D74ED87-DB79-4CAF-BA45-025B60DFCFBD}" dt="2022-03-30T07:57:10.690" v="773" actId="14100"/>
          <ac:cxnSpMkLst>
            <pc:docMk/>
            <pc:sldMk cId="1872906630" sldId="3528"/>
            <ac:cxnSpMk id="261" creationId="{A38311A4-13E9-4DF0-9DA5-CCEBB9276543}"/>
          </ac:cxnSpMkLst>
        </pc:cxnChg>
        <pc:cxnChg chg="mod">
          <ac:chgData name="Ojas Rajpal" userId="51f5808b-b899-4853-a9c1-d0f056bcd62b" providerId="ADAL" clId="{6D74ED87-DB79-4CAF-BA45-025B60DFCFBD}" dt="2022-03-30T07:57:10.690" v="773" actId="14100"/>
          <ac:cxnSpMkLst>
            <pc:docMk/>
            <pc:sldMk cId="1872906630" sldId="3528"/>
            <ac:cxnSpMk id="262" creationId="{A04237BC-6519-414B-BA1B-412BF328AC23}"/>
          </ac:cxnSpMkLst>
        </pc:cxnChg>
        <pc:cxnChg chg="mod">
          <ac:chgData name="Ojas Rajpal" userId="51f5808b-b899-4853-a9c1-d0f056bcd62b" providerId="ADAL" clId="{6D74ED87-DB79-4CAF-BA45-025B60DFCFBD}" dt="2022-03-30T07:57:10.690" v="773" actId="14100"/>
          <ac:cxnSpMkLst>
            <pc:docMk/>
            <pc:sldMk cId="1872906630" sldId="3528"/>
            <ac:cxnSpMk id="263" creationId="{70331E90-C6F0-46AD-BABC-91D690B6C063}"/>
          </ac:cxnSpMkLst>
        </pc:cxnChg>
        <pc:cxnChg chg="mod">
          <ac:chgData name="Ojas Rajpal" userId="51f5808b-b899-4853-a9c1-d0f056bcd62b" providerId="ADAL" clId="{6D74ED87-DB79-4CAF-BA45-025B60DFCFBD}" dt="2022-03-30T07:57:10.690" v="773" actId="14100"/>
          <ac:cxnSpMkLst>
            <pc:docMk/>
            <pc:sldMk cId="1872906630" sldId="3528"/>
            <ac:cxnSpMk id="264" creationId="{4D64FDC4-DB58-4427-A871-4D8F9141C06C}"/>
          </ac:cxnSpMkLst>
        </pc:cxnChg>
        <pc:cxnChg chg="mod">
          <ac:chgData name="Ojas Rajpal" userId="51f5808b-b899-4853-a9c1-d0f056bcd62b" providerId="ADAL" clId="{6D74ED87-DB79-4CAF-BA45-025B60DFCFBD}" dt="2022-03-30T07:58:04.420" v="803" actId="14100"/>
          <ac:cxnSpMkLst>
            <pc:docMk/>
            <pc:sldMk cId="1872906630" sldId="3528"/>
            <ac:cxnSpMk id="267" creationId="{1FA3A40A-045D-4BCF-90B2-293F7DDD33B4}"/>
          </ac:cxnSpMkLst>
        </pc:cxnChg>
        <pc:cxnChg chg="mod">
          <ac:chgData name="Ojas Rajpal" userId="51f5808b-b899-4853-a9c1-d0f056bcd62b" providerId="ADAL" clId="{6D74ED87-DB79-4CAF-BA45-025B60DFCFBD}" dt="2022-03-30T07:58:04.420" v="803" actId="14100"/>
          <ac:cxnSpMkLst>
            <pc:docMk/>
            <pc:sldMk cId="1872906630" sldId="3528"/>
            <ac:cxnSpMk id="268" creationId="{2E99C93E-B182-43C1-A311-21E9979D070A}"/>
          </ac:cxnSpMkLst>
        </pc:cxnChg>
        <pc:cxnChg chg="mod">
          <ac:chgData name="Ojas Rajpal" userId="51f5808b-b899-4853-a9c1-d0f056bcd62b" providerId="ADAL" clId="{6D74ED87-DB79-4CAF-BA45-025B60DFCFBD}" dt="2022-03-30T07:58:04.420" v="803" actId="14100"/>
          <ac:cxnSpMkLst>
            <pc:docMk/>
            <pc:sldMk cId="1872906630" sldId="3528"/>
            <ac:cxnSpMk id="284" creationId="{BF89433D-4EC1-4FD8-B69D-1E8466EAD715}"/>
          </ac:cxnSpMkLst>
        </pc:cxnChg>
        <pc:cxnChg chg="mod">
          <ac:chgData name="Ojas Rajpal" userId="51f5808b-b899-4853-a9c1-d0f056bcd62b" providerId="ADAL" clId="{6D74ED87-DB79-4CAF-BA45-025B60DFCFBD}" dt="2022-03-30T07:58:04.420" v="803" actId="14100"/>
          <ac:cxnSpMkLst>
            <pc:docMk/>
            <pc:sldMk cId="1872906630" sldId="3528"/>
            <ac:cxnSpMk id="323" creationId="{12FCF9AA-2257-43A2-A6FE-C6546A716BE5}"/>
          </ac:cxnSpMkLst>
        </pc:cxnChg>
        <pc:cxnChg chg="mod">
          <ac:chgData name="Ojas Rajpal" userId="51f5808b-b899-4853-a9c1-d0f056bcd62b" providerId="ADAL" clId="{6D74ED87-DB79-4CAF-BA45-025B60DFCFBD}" dt="2022-03-30T07:58:04.420" v="803" actId="14100"/>
          <ac:cxnSpMkLst>
            <pc:docMk/>
            <pc:sldMk cId="1872906630" sldId="3528"/>
            <ac:cxnSpMk id="324" creationId="{A00C29E9-CC38-472B-9D6F-A581A4D31FD1}"/>
          </ac:cxnSpMkLst>
        </pc:cxnChg>
        <pc:cxnChg chg="mod">
          <ac:chgData name="Ojas Rajpal" userId="51f5808b-b899-4853-a9c1-d0f056bcd62b" providerId="ADAL" clId="{6D74ED87-DB79-4CAF-BA45-025B60DFCFBD}" dt="2022-03-30T07:58:04.420" v="803" actId="14100"/>
          <ac:cxnSpMkLst>
            <pc:docMk/>
            <pc:sldMk cId="1872906630" sldId="3528"/>
            <ac:cxnSpMk id="325" creationId="{94AEBC29-0159-450C-AC94-1F0644B7411D}"/>
          </ac:cxnSpMkLst>
        </pc:cxnChg>
        <pc:cxnChg chg="mod">
          <ac:chgData name="Ojas Rajpal" userId="51f5808b-b899-4853-a9c1-d0f056bcd62b" providerId="ADAL" clId="{6D74ED87-DB79-4CAF-BA45-025B60DFCFBD}" dt="2022-03-30T07:58:04.420" v="803" actId="14100"/>
          <ac:cxnSpMkLst>
            <pc:docMk/>
            <pc:sldMk cId="1872906630" sldId="3528"/>
            <ac:cxnSpMk id="326" creationId="{A2A722D8-50D2-4A50-9979-58D241ACB588}"/>
          </ac:cxnSpMkLst>
        </pc:cxnChg>
        <pc:cxnChg chg="mod">
          <ac:chgData name="Ojas Rajpal" userId="51f5808b-b899-4853-a9c1-d0f056bcd62b" providerId="ADAL" clId="{6D74ED87-DB79-4CAF-BA45-025B60DFCFBD}" dt="2022-03-30T08:10:50.022" v="1211" actId="1036"/>
          <ac:cxnSpMkLst>
            <pc:docMk/>
            <pc:sldMk cId="1872906630" sldId="3528"/>
            <ac:cxnSpMk id="328" creationId="{73D4E607-4B4B-4F1B-A6E2-EC48AE13396D}"/>
          </ac:cxnSpMkLst>
        </pc:cxnChg>
        <pc:cxnChg chg="mod">
          <ac:chgData name="Ojas Rajpal" userId="51f5808b-b899-4853-a9c1-d0f056bcd62b" providerId="ADAL" clId="{6D74ED87-DB79-4CAF-BA45-025B60DFCFBD}" dt="2022-03-30T08:10:50.022" v="1211" actId="1036"/>
          <ac:cxnSpMkLst>
            <pc:docMk/>
            <pc:sldMk cId="1872906630" sldId="3528"/>
            <ac:cxnSpMk id="378" creationId="{A946F30A-A0A2-4B34-915A-4887D6885D11}"/>
          </ac:cxnSpMkLst>
        </pc:cxnChg>
        <pc:cxnChg chg="mod">
          <ac:chgData name="Ojas Rajpal" userId="51f5808b-b899-4853-a9c1-d0f056bcd62b" providerId="ADAL" clId="{6D74ED87-DB79-4CAF-BA45-025B60DFCFBD}" dt="2022-03-30T08:10:50.022" v="1211" actId="1036"/>
          <ac:cxnSpMkLst>
            <pc:docMk/>
            <pc:sldMk cId="1872906630" sldId="3528"/>
            <ac:cxnSpMk id="379" creationId="{F46691A8-F87C-4884-8476-008C590A293F}"/>
          </ac:cxnSpMkLst>
        </pc:cxnChg>
        <pc:cxnChg chg="mod">
          <ac:chgData name="Ojas Rajpal" userId="51f5808b-b899-4853-a9c1-d0f056bcd62b" providerId="ADAL" clId="{6D74ED87-DB79-4CAF-BA45-025B60DFCFBD}" dt="2022-03-30T08:10:50.022" v="1211" actId="1036"/>
          <ac:cxnSpMkLst>
            <pc:docMk/>
            <pc:sldMk cId="1872906630" sldId="3528"/>
            <ac:cxnSpMk id="380" creationId="{DF70B39A-0AE9-4778-8958-BADF7786AC8B}"/>
          </ac:cxnSpMkLst>
        </pc:cxnChg>
        <pc:cxnChg chg="mod">
          <ac:chgData name="Ojas Rajpal" userId="51f5808b-b899-4853-a9c1-d0f056bcd62b" providerId="ADAL" clId="{6D74ED87-DB79-4CAF-BA45-025B60DFCFBD}" dt="2022-03-30T08:10:50.022" v="1211" actId="1036"/>
          <ac:cxnSpMkLst>
            <pc:docMk/>
            <pc:sldMk cId="1872906630" sldId="3528"/>
            <ac:cxnSpMk id="381" creationId="{EE194112-0361-40AA-867E-F02E370F79B0}"/>
          </ac:cxnSpMkLst>
        </pc:cxnChg>
        <pc:cxnChg chg="add del mod">
          <ac:chgData name="Ojas Rajpal" userId="51f5808b-b899-4853-a9c1-d0f056bcd62b" providerId="ADAL" clId="{6D74ED87-DB79-4CAF-BA45-025B60DFCFBD}" dt="2022-03-30T08:07:43.124" v="1017"/>
          <ac:cxnSpMkLst>
            <pc:docMk/>
            <pc:sldMk cId="1872906630" sldId="3528"/>
            <ac:cxnSpMk id="387" creationId="{F7E683F3-386C-42CC-A56F-89CE7DE61C30}"/>
          </ac:cxnSpMkLst>
        </pc:cxnChg>
        <pc:cxnChg chg="add mod">
          <ac:chgData name="Ojas Rajpal" userId="51f5808b-b899-4853-a9c1-d0f056bcd62b" providerId="ADAL" clId="{6D74ED87-DB79-4CAF-BA45-025B60DFCFBD}" dt="2022-03-30T08:10:50.022" v="1211" actId="1036"/>
          <ac:cxnSpMkLst>
            <pc:docMk/>
            <pc:sldMk cId="1872906630" sldId="3528"/>
            <ac:cxnSpMk id="388" creationId="{73B65ED6-23CC-41FD-86FF-50B2FAC570E2}"/>
          </ac:cxnSpMkLst>
        </pc:cxnChg>
        <pc:cxnChg chg="add mod">
          <ac:chgData name="Ojas Rajpal" userId="51f5808b-b899-4853-a9c1-d0f056bcd62b" providerId="ADAL" clId="{6D74ED87-DB79-4CAF-BA45-025B60DFCFBD}" dt="2022-03-30T08:10:50.022" v="1211" actId="1036"/>
          <ac:cxnSpMkLst>
            <pc:docMk/>
            <pc:sldMk cId="1872906630" sldId="3528"/>
            <ac:cxnSpMk id="389" creationId="{DC1F3FF7-E6DF-40D1-A239-F2DDFE4F31A9}"/>
          </ac:cxnSpMkLst>
        </pc:cxnChg>
        <pc:cxnChg chg="mod">
          <ac:chgData name="Ojas Rajpal" userId="51f5808b-b899-4853-a9c1-d0f056bcd62b" providerId="ADAL" clId="{6D74ED87-DB79-4CAF-BA45-025B60DFCFBD}" dt="2022-03-30T08:41:49.943" v="3257"/>
          <ac:cxnSpMkLst>
            <pc:docMk/>
            <pc:sldMk cId="1872906630" sldId="3528"/>
            <ac:cxnSpMk id="439" creationId="{FA168949-A1DE-480A-B795-371E55AD1BE8}"/>
          </ac:cxnSpMkLst>
        </pc:cxnChg>
        <pc:cxnChg chg="mod">
          <ac:chgData name="Ojas Rajpal" userId="51f5808b-b899-4853-a9c1-d0f056bcd62b" providerId="ADAL" clId="{6D74ED87-DB79-4CAF-BA45-025B60DFCFBD}" dt="2022-03-30T08:41:49.943" v="3257"/>
          <ac:cxnSpMkLst>
            <pc:docMk/>
            <pc:sldMk cId="1872906630" sldId="3528"/>
            <ac:cxnSpMk id="440" creationId="{51B901AA-AD82-40F7-8E2C-684245A255E6}"/>
          </ac:cxnSpMkLst>
        </pc:cxnChg>
      </pc:sldChg>
      <pc:sldChg chg="add">
        <pc:chgData name="Ojas Rajpal" userId="51f5808b-b899-4853-a9c1-d0f056bcd62b" providerId="ADAL" clId="{6D74ED87-DB79-4CAF-BA45-025B60DFCFBD}" dt="2022-03-30T07:59:04.618" v="809"/>
        <pc:sldMkLst>
          <pc:docMk/>
          <pc:sldMk cId="3086362454" sldId="2128751890"/>
        </pc:sldMkLst>
      </pc:sldChg>
      <pc:sldChg chg="addSp delSp modSp add del mod">
        <pc:chgData name="Ojas Rajpal" userId="51f5808b-b899-4853-a9c1-d0f056bcd62b" providerId="ADAL" clId="{6D74ED87-DB79-4CAF-BA45-025B60DFCFBD}" dt="2022-03-30T08:42:46.706" v="3272" actId="47"/>
        <pc:sldMkLst>
          <pc:docMk/>
          <pc:sldMk cId="3915849602" sldId="2128751891"/>
        </pc:sldMkLst>
        <pc:spChg chg="del">
          <ac:chgData name="Ojas Rajpal" userId="51f5808b-b899-4853-a9c1-d0f056bcd62b" providerId="ADAL" clId="{6D74ED87-DB79-4CAF-BA45-025B60DFCFBD}" dt="2022-03-30T08:15:07.697" v="1301" actId="478"/>
          <ac:spMkLst>
            <pc:docMk/>
            <pc:sldMk cId="3915849602" sldId="2128751891"/>
            <ac:spMk id="91" creationId="{72999F05-0C77-4765-B0E8-C0C472600570}"/>
          </ac:spMkLst>
        </pc:spChg>
        <pc:spChg chg="del">
          <ac:chgData name="Ojas Rajpal" userId="51f5808b-b899-4853-a9c1-d0f056bcd62b" providerId="ADAL" clId="{6D74ED87-DB79-4CAF-BA45-025B60DFCFBD}" dt="2022-03-30T08:15:07.697" v="1301" actId="478"/>
          <ac:spMkLst>
            <pc:docMk/>
            <pc:sldMk cId="3915849602" sldId="2128751891"/>
            <ac:spMk id="92" creationId="{1094B728-DD55-4B29-AEA1-55A75043458A}"/>
          </ac:spMkLst>
        </pc:spChg>
        <pc:spChg chg="del">
          <ac:chgData name="Ojas Rajpal" userId="51f5808b-b899-4853-a9c1-d0f056bcd62b" providerId="ADAL" clId="{6D74ED87-DB79-4CAF-BA45-025B60DFCFBD}" dt="2022-03-30T08:15:07.697" v="1301" actId="478"/>
          <ac:spMkLst>
            <pc:docMk/>
            <pc:sldMk cId="3915849602" sldId="2128751891"/>
            <ac:spMk id="93" creationId="{E59E7E89-7852-4D77-926F-CE1656CCA1F5}"/>
          </ac:spMkLst>
        </pc:spChg>
        <pc:spChg chg="del">
          <ac:chgData name="Ojas Rajpal" userId="51f5808b-b899-4853-a9c1-d0f056bcd62b" providerId="ADAL" clId="{6D74ED87-DB79-4CAF-BA45-025B60DFCFBD}" dt="2022-03-30T08:15:07.697" v="1301" actId="478"/>
          <ac:spMkLst>
            <pc:docMk/>
            <pc:sldMk cId="3915849602" sldId="2128751891"/>
            <ac:spMk id="94" creationId="{996842C0-9A8D-47CF-85A1-AD959C6A0563}"/>
          </ac:spMkLst>
        </pc:spChg>
        <pc:spChg chg="del">
          <ac:chgData name="Ojas Rajpal" userId="51f5808b-b899-4853-a9c1-d0f056bcd62b" providerId="ADAL" clId="{6D74ED87-DB79-4CAF-BA45-025B60DFCFBD}" dt="2022-03-30T08:15:07.697" v="1301" actId="478"/>
          <ac:spMkLst>
            <pc:docMk/>
            <pc:sldMk cId="3915849602" sldId="2128751891"/>
            <ac:spMk id="97" creationId="{980FF9F5-71A4-4A2A-8155-F09E7F04E664}"/>
          </ac:spMkLst>
        </pc:spChg>
        <pc:spChg chg="del">
          <ac:chgData name="Ojas Rajpal" userId="51f5808b-b899-4853-a9c1-d0f056bcd62b" providerId="ADAL" clId="{6D74ED87-DB79-4CAF-BA45-025B60DFCFBD}" dt="2022-03-30T08:15:07.697" v="1301" actId="478"/>
          <ac:spMkLst>
            <pc:docMk/>
            <pc:sldMk cId="3915849602" sldId="2128751891"/>
            <ac:spMk id="98" creationId="{4064596F-4259-49FE-8159-CA508AA18D80}"/>
          </ac:spMkLst>
        </pc:spChg>
        <pc:spChg chg="del">
          <ac:chgData name="Ojas Rajpal" userId="51f5808b-b899-4853-a9c1-d0f056bcd62b" providerId="ADAL" clId="{6D74ED87-DB79-4CAF-BA45-025B60DFCFBD}" dt="2022-03-30T08:15:07.697" v="1301" actId="478"/>
          <ac:spMkLst>
            <pc:docMk/>
            <pc:sldMk cId="3915849602" sldId="2128751891"/>
            <ac:spMk id="99" creationId="{38F3698E-D276-48D5-957B-2C349E400FE4}"/>
          </ac:spMkLst>
        </pc:spChg>
        <pc:spChg chg="del">
          <ac:chgData name="Ojas Rajpal" userId="51f5808b-b899-4853-a9c1-d0f056bcd62b" providerId="ADAL" clId="{6D74ED87-DB79-4CAF-BA45-025B60DFCFBD}" dt="2022-03-30T08:28:03.339" v="2411" actId="478"/>
          <ac:spMkLst>
            <pc:docMk/>
            <pc:sldMk cId="3915849602" sldId="2128751891"/>
            <ac:spMk id="100" creationId="{AA854E9B-EE50-43E1-9A96-364DD6114F65}"/>
          </ac:spMkLst>
        </pc:spChg>
        <pc:spChg chg="del">
          <ac:chgData name="Ojas Rajpal" userId="51f5808b-b899-4853-a9c1-d0f056bcd62b" providerId="ADAL" clId="{6D74ED87-DB79-4CAF-BA45-025B60DFCFBD}" dt="2022-03-30T08:15:07.697" v="1301" actId="478"/>
          <ac:spMkLst>
            <pc:docMk/>
            <pc:sldMk cId="3915849602" sldId="2128751891"/>
            <ac:spMk id="101" creationId="{91B2758C-27A4-4B9F-814C-95B5BA9F4966}"/>
          </ac:spMkLst>
        </pc:spChg>
        <pc:spChg chg="del">
          <ac:chgData name="Ojas Rajpal" userId="51f5808b-b899-4853-a9c1-d0f056bcd62b" providerId="ADAL" clId="{6D74ED87-DB79-4CAF-BA45-025B60DFCFBD}" dt="2022-03-30T08:15:07.697" v="1301" actId="478"/>
          <ac:spMkLst>
            <pc:docMk/>
            <pc:sldMk cId="3915849602" sldId="2128751891"/>
            <ac:spMk id="102" creationId="{23C732AD-C496-43A0-A7F7-76F6A2F52F01}"/>
          </ac:spMkLst>
        </pc:spChg>
        <pc:spChg chg="del">
          <ac:chgData name="Ojas Rajpal" userId="51f5808b-b899-4853-a9c1-d0f056bcd62b" providerId="ADAL" clId="{6D74ED87-DB79-4CAF-BA45-025B60DFCFBD}" dt="2022-03-30T08:15:07.697" v="1301" actId="478"/>
          <ac:spMkLst>
            <pc:docMk/>
            <pc:sldMk cId="3915849602" sldId="2128751891"/>
            <ac:spMk id="103" creationId="{1698F114-46E7-4E73-8F38-F2CFB5D8E659}"/>
          </ac:spMkLst>
        </pc:spChg>
        <pc:spChg chg="del">
          <ac:chgData name="Ojas Rajpal" userId="51f5808b-b899-4853-a9c1-d0f056bcd62b" providerId="ADAL" clId="{6D74ED87-DB79-4CAF-BA45-025B60DFCFBD}" dt="2022-03-30T08:15:07.697" v="1301" actId="478"/>
          <ac:spMkLst>
            <pc:docMk/>
            <pc:sldMk cId="3915849602" sldId="2128751891"/>
            <ac:spMk id="104" creationId="{7509505F-CBEB-4B10-9734-68B6B9FA7489}"/>
          </ac:spMkLst>
        </pc:spChg>
        <pc:spChg chg="del">
          <ac:chgData name="Ojas Rajpal" userId="51f5808b-b899-4853-a9c1-d0f056bcd62b" providerId="ADAL" clId="{6D74ED87-DB79-4CAF-BA45-025B60DFCFBD}" dt="2022-03-30T08:15:07.697" v="1301" actId="478"/>
          <ac:spMkLst>
            <pc:docMk/>
            <pc:sldMk cId="3915849602" sldId="2128751891"/>
            <ac:spMk id="105" creationId="{5E8CD537-E39A-4DC9-AABC-164E5B3F068C}"/>
          </ac:spMkLst>
        </pc:spChg>
        <pc:spChg chg="del">
          <ac:chgData name="Ojas Rajpal" userId="51f5808b-b899-4853-a9c1-d0f056bcd62b" providerId="ADAL" clId="{6D74ED87-DB79-4CAF-BA45-025B60DFCFBD}" dt="2022-03-30T08:15:07.697" v="1301" actId="478"/>
          <ac:spMkLst>
            <pc:docMk/>
            <pc:sldMk cId="3915849602" sldId="2128751891"/>
            <ac:spMk id="106" creationId="{D5D85EC2-9888-4426-A680-33A4D407FDE1}"/>
          </ac:spMkLst>
        </pc:spChg>
        <pc:spChg chg="del">
          <ac:chgData name="Ojas Rajpal" userId="51f5808b-b899-4853-a9c1-d0f056bcd62b" providerId="ADAL" clId="{6D74ED87-DB79-4CAF-BA45-025B60DFCFBD}" dt="2022-03-30T08:15:07.697" v="1301" actId="478"/>
          <ac:spMkLst>
            <pc:docMk/>
            <pc:sldMk cId="3915849602" sldId="2128751891"/>
            <ac:spMk id="107" creationId="{6B4A50B7-CFEE-461E-9E08-5B5E385476F1}"/>
          </ac:spMkLst>
        </pc:spChg>
        <pc:spChg chg="del">
          <ac:chgData name="Ojas Rajpal" userId="51f5808b-b899-4853-a9c1-d0f056bcd62b" providerId="ADAL" clId="{6D74ED87-DB79-4CAF-BA45-025B60DFCFBD}" dt="2022-03-30T08:15:07.697" v="1301" actId="478"/>
          <ac:spMkLst>
            <pc:docMk/>
            <pc:sldMk cId="3915849602" sldId="2128751891"/>
            <ac:spMk id="108" creationId="{53FB31EE-1057-43E3-B832-01AB20F878EE}"/>
          </ac:spMkLst>
        </pc:spChg>
        <pc:spChg chg="del">
          <ac:chgData name="Ojas Rajpal" userId="51f5808b-b899-4853-a9c1-d0f056bcd62b" providerId="ADAL" clId="{6D74ED87-DB79-4CAF-BA45-025B60DFCFBD}" dt="2022-03-30T08:15:07.697" v="1301" actId="478"/>
          <ac:spMkLst>
            <pc:docMk/>
            <pc:sldMk cId="3915849602" sldId="2128751891"/>
            <ac:spMk id="109" creationId="{50FDB50E-03EC-4618-9F37-21CE4FAFA815}"/>
          </ac:spMkLst>
        </pc:spChg>
        <pc:spChg chg="del">
          <ac:chgData name="Ojas Rajpal" userId="51f5808b-b899-4853-a9c1-d0f056bcd62b" providerId="ADAL" clId="{6D74ED87-DB79-4CAF-BA45-025B60DFCFBD}" dt="2022-03-30T08:15:07.697" v="1301" actId="478"/>
          <ac:spMkLst>
            <pc:docMk/>
            <pc:sldMk cId="3915849602" sldId="2128751891"/>
            <ac:spMk id="110" creationId="{710CDD61-FFEB-465D-AC78-1DBDF241C229}"/>
          </ac:spMkLst>
        </pc:spChg>
        <pc:spChg chg="del">
          <ac:chgData name="Ojas Rajpal" userId="51f5808b-b899-4853-a9c1-d0f056bcd62b" providerId="ADAL" clId="{6D74ED87-DB79-4CAF-BA45-025B60DFCFBD}" dt="2022-03-30T08:15:07.697" v="1301" actId="478"/>
          <ac:spMkLst>
            <pc:docMk/>
            <pc:sldMk cId="3915849602" sldId="2128751891"/>
            <ac:spMk id="111" creationId="{FCA96B29-2297-4183-8654-FA134CD3E957}"/>
          </ac:spMkLst>
        </pc:spChg>
        <pc:spChg chg="del">
          <ac:chgData name="Ojas Rajpal" userId="51f5808b-b899-4853-a9c1-d0f056bcd62b" providerId="ADAL" clId="{6D74ED87-DB79-4CAF-BA45-025B60DFCFBD}" dt="2022-03-30T08:15:07.697" v="1301" actId="478"/>
          <ac:spMkLst>
            <pc:docMk/>
            <pc:sldMk cId="3915849602" sldId="2128751891"/>
            <ac:spMk id="139" creationId="{F8827DB6-DAE4-426A-96CF-3BA2C5364F19}"/>
          </ac:spMkLst>
        </pc:spChg>
        <pc:spChg chg="del">
          <ac:chgData name="Ojas Rajpal" userId="51f5808b-b899-4853-a9c1-d0f056bcd62b" providerId="ADAL" clId="{6D74ED87-DB79-4CAF-BA45-025B60DFCFBD}" dt="2022-03-30T08:15:07.697" v="1301" actId="478"/>
          <ac:spMkLst>
            <pc:docMk/>
            <pc:sldMk cId="3915849602" sldId="2128751891"/>
            <ac:spMk id="147" creationId="{F130E015-D4F4-47C8-9681-0E4E0FDF4A0D}"/>
          </ac:spMkLst>
        </pc:spChg>
        <pc:spChg chg="del">
          <ac:chgData name="Ojas Rajpal" userId="51f5808b-b899-4853-a9c1-d0f056bcd62b" providerId="ADAL" clId="{6D74ED87-DB79-4CAF-BA45-025B60DFCFBD}" dt="2022-03-30T08:15:07.697" v="1301" actId="478"/>
          <ac:spMkLst>
            <pc:docMk/>
            <pc:sldMk cId="3915849602" sldId="2128751891"/>
            <ac:spMk id="148" creationId="{B2B7C211-AFCD-4EAD-AAB2-F1C0191219F0}"/>
          </ac:spMkLst>
        </pc:spChg>
        <pc:spChg chg="del">
          <ac:chgData name="Ojas Rajpal" userId="51f5808b-b899-4853-a9c1-d0f056bcd62b" providerId="ADAL" clId="{6D74ED87-DB79-4CAF-BA45-025B60DFCFBD}" dt="2022-03-30T08:15:07.697" v="1301" actId="478"/>
          <ac:spMkLst>
            <pc:docMk/>
            <pc:sldMk cId="3915849602" sldId="2128751891"/>
            <ac:spMk id="149" creationId="{4C4D49F8-5E79-4C34-B346-B8C68A609AF0}"/>
          </ac:spMkLst>
        </pc:spChg>
        <pc:spChg chg="del">
          <ac:chgData name="Ojas Rajpal" userId="51f5808b-b899-4853-a9c1-d0f056bcd62b" providerId="ADAL" clId="{6D74ED87-DB79-4CAF-BA45-025B60DFCFBD}" dt="2022-03-30T08:15:07.697" v="1301" actId="478"/>
          <ac:spMkLst>
            <pc:docMk/>
            <pc:sldMk cId="3915849602" sldId="2128751891"/>
            <ac:spMk id="150" creationId="{48B833D2-CB66-4D2F-9979-84E55527D902}"/>
          </ac:spMkLst>
        </pc:spChg>
        <pc:spChg chg="del">
          <ac:chgData name="Ojas Rajpal" userId="51f5808b-b899-4853-a9c1-d0f056bcd62b" providerId="ADAL" clId="{6D74ED87-DB79-4CAF-BA45-025B60DFCFBD}" dt="2022-03-30T08:15:07.697" v="1301" actId="478"/>
          <ac:spMkLst>
            <pc:docMk/>
            <pc:sldMk cId="3915849602" sldId="2128751891"/>
            <ac:spMk id="151" creationId="{08D9FB67-7359-43E3-AD6E-5DB9F21CF322}"/>
          </ac:spMkLst>
        </pc:spChg>
        <pc:spChg chg="del">
          <ac:chgData name="Ojas Rajpal" userId="51f5808b-b899-4853-a9c1-d0f056bcd62b" providerId="ADAL" clId="{6D74ED87-DB79-4CAF-BA45-025B60DFCFBD}" dt="2022-03-30T08:15:07.697" v="1301" actId="478"/>
          <ac:spMkLst>
            <pc:docMk/>
            <pc:sldMk cId="3915849602" sldId="2128751891"/>
            <ac:spMk id="152" creationId="{84A357B6-67D0-43B8-9C45-52B66F5AD7ED}"/>
          </ac:spMkLst>
        </pc:spChg>
        <pc:spChg chg="del">
          <ac:chgData name="Ojas Rajpal" userId="51f5808b-b899-4853-a9c1-d0f056bcd62b" providerId="ADAL" clId="{6D74ED87-DB79-4CAF-BA45-025B60DFCFBD}" dt="2022-03-30T08:15:07.697" v="1301" actId="478"/>
          <ac:spMkLst>
            <pc:docMk/>
            <pc:sldMk cId="3915849602" sldId="2128751891"/>
            <ac:spMk id="153" creationId="{4A489ED3-84B6-4F58-AACE-EB60D5EE3824}"/>
          </ac:spMkLst>
        </pc:spChg>
        <pc:spChg chg="del">
          <ac:chgData name="Ojas Rajpal" userId="51f5808b-b899-4853-a9c1-d0f056bcd62b" providerId="ADAL" clId="{6D74ED87-DB79-4CAF-BA45-025B60DFCFBD}" dt="2022-03-30T08:15:07.697" v="1301" actId="478"/>
          <ac:spMkLst>
            <pc:docMk/>
            <pc:sldMk cId="3915849602" sldId="2128751891"/>
            <ac:spMk id="155" creationId="{AB01967E-1E9A-4553-B610-F99CC6B55415}"/>
          </ac:spMkLst>
        </pc:spChg>
        <pc:spChg chg="del">
          <ac:chgData name="Ojas Rajpal" userId="51f5808b-b899-4853-a9c1-d0f056bcd62b" providerId="ADAL" clId="{6D74ED87-DB79-4CAF-BA45-025B60DFCFBD}" dt="2022-03-30T08:15:07.697" v="1301" actId="478"/>
          <ac:spMkLst>
            <pc:docMk/>
            <pc:sldMk cId="3915849602" sldId="2128751891"/>
            <ac:spMk id="157" creationId="{D829B5A9-6024-49A5-9398-F643FA96CDE7}"/>
          </ac:spMkLst>
        </pc:spChg>
        <pc:spChg chg="del">
          <ac:chgData name="Ojas Rajpal" userId="51f5808b-b899-4853-a9c1-d0f056bcd62b" providerId="ADAL" clId="{6D74ED87-DB79-4CAF-BA45-025B60DFCFBD}" dt="2022-03-30T08:15:07.697" v="1301" actId="478"/>
          <ac:spMkLst>
            <pc:docMk/>
            <pc:sldMk cId="3915849602" sldId="2128751891"/>
            <ac:spMk id="158" creationId="{EC8AFC0B-4C6A-4515-8145-B90D9517F213}"/>
          </ac:spMkLst>
        </pc:spChg>
        <pc:spChg chg="del">
          <ac:chgData name="Ojas Rajpal" userId="51f5808b-b899-4853-a9c1-d0f056bcd62b" providerId="ADAL" clId="{6D74ED87-DB79-4CAF-BA45-025B60DFCFBD}" dt="2022-03-30T08:15:07.697" v="1301" actId="478"/>
          <ac:spMkLst>
            <pc:docMk/>
            <pc:sldMk cId="3915849602" sldId="2128751891"/>
            <ac:spMk id="159" creationId="{BCDC93B5-0965-410D-B531-57259163C6B4}"/>
          </ac:spMkLst>
        </pc:spChg>
        <pc:spChg chg="del">
          <ac:chgData name="Ojas Rajpal" userId="51f5808b-b899-4853-a9c1-d0f056bcd62b" providerId="ADAL" clId="{6D74ED87-DB79-4CAF-BA45-025B60DFCFBD}" dt="2022-03-30T08:15:07.697" v="1301" actId="478"/>
          <ac:spMkLst>
            <pc:docMk/>
            <pc:sldMk cId="3915849602" sldId="2128751891"/>
            <ac:spMk id="160" creationId="{52BDF634-3CD5-4A8C-9927-DF0D58DF9819}"/>
          </ac:spMkLst>
        </pc:spChg>
        <pc:spChg chg="del">
          <ac:chgData name="Ojas Rajpal" userId="51f5808b-b899-4853-a9c1-d0f056bcd62b" providerId="ADAL" clId="{6D74ED87-DB79-4CAF-BA45-025B60DFCFBD}" dt="2022-03-30T08:15:07.697" v="1301" actId="478"/>
          <ac:spMkLst>
            <pc:docMk/>
            <pc:sldMk cId="3915849602" sldId="2128751891"/>
            <ac:spMk id="161" creationId="{1CB9C4EA-9C7D-4DE4-A141-A3CB1DC2B575}"/>
          </ac:spMkLst>
        </pc:spChg>
        <pc:spChg chg="del">
          <ac:chgData name="Ojas Rajpal" userId="51f5808b-b899-4853-a9c1-d0f056bcd62b" providerId="ADAL" clId="{6D74ED87-DB79-4CAF-BA45-025B60DFCFBD}" dt="2022-03-30T08:15:07.697" v="1301" actId="478"/>
          <ac:spMkLst>
            <pc:docMk/>
            <pc:sldMk cId="3915849602" sldId="2128751891"/>
            <ac:spMk id="162" creationId="{9E1642FA-00B8-4789-9154-4F52E3DEB52C}"/>
          </ac:spMkLst>
        </pc:spChg>
        <pc:spChg chg="del">
          <ac:chgData name="Ojas Rajpal" userId="51f5808b-b899-4853-a9c1-d0f056bcd62b" providerId="ADAL" clId="{6D74ED87-DB79-4CAF-BA45-025B60DFCFBD}" dt="2022-03-30T08:15:07.697" v="1301" actId="478"/>
          <ac:spMkLst>
            <pc:docMk/>
            <pc:sldMk cId="3915849602" sldId="2128751891"/>
            <ac:spMk id="163" creationId="{B51245D8-4A6F-4C36-95CC-8A575FAF324F}"/>
          </ac:spMkLst>
        </pc:spChg>
        <pc:spChg chg="del">
          <ac:chgData name="Ojas Rajpal" userId="51f5808b-b899-4853-a9c1-d0f056bcd62b" providerId="ADAL" clId="{6D74ED87-DB79-4CAF-BA45-025B60DFCFBD}" dt="2022-03-30T08:15:07.697" v="1301" actId="478"/>
          <ac:spMkLst>
            <pc:docMk/>
            <pc:sldMk cId="3915849602" sldId="2128751891"/>
            <ac:spMk id="164" creationId="{963A5DBC-AD48-4D50-B831-D091582C2BEF}"/>
          </ac:spMkLst>
        </pc:spChg>
        <pc:spChg chg="del">
          <ac:chgData name="Ojas Rajpal" userId="51f5808b-b899-4853-a9c1-d0f056bcd62b" providerId="ADAL" clId="{6D74ED87-DB79-4CAF-BA45-025B60DFCFBD}" dt="2022-03-30T08:15:07.697" v="1301" actId="478"/>
          <ac:spMkLst>
            <pc:docMk/>
            <pc:sldMk cId="3915849602" sldId="2128751891"/>
            <ac:spMk id="166" creationId="{3EAF428D-C868-4715-B122-652804582FB9}"/>
          </ac:spMkLst>
        </pc:spChg>
        <pc:spChg chg="del">
          <ac:chgData name="Ojas Rajpal" userId="51f5808b-b899-4853-a9c1-d0f056bcd62b" providerId="ADAL" clId="{6D74ED87-DB79-4CAF-BA45-025B60DFCFBD}" dt="2022-03-30T08:15:07.697" v="1301" actId="478"/>
          <ac:spMkLst>
            <pc:docMk/>
            <pc:sldMk cId="3915849602" sldId="2128751891"/>
            <ac:spMk id="167" creationId="{7B348D76-8E77-4FB1-948D-B3B119147079}"/>
          </ac:spMkLst>
        </pc:spChg>
        <pc:spChg chg="del">
          <ac:chgData name="Ojas Rajpal" userId="51f5808b-b899-4853-a9c1-d0f056bcd62b" providerId="ADAL" clId="{6D74ED87-DB79-4CAF-BA45-025B60DFCFBD}" dt="2022-03-30T08:15:07.697" v="1301" actId="478"/>
          <ac:spMkLst>
            <pc:docMk/>
            <pc:sldMk cId="3915849602" sldId="2128751891"/>
            <ac:spMk id="168" creationId="{8AC1C014-B345-441C-AB86-27106F1B3D84}"/>
          </ac:spMkLst>
        </pc:spChg>
        <pc:spChg chg="del">
          <ac:chgData name="Ojas Rajpal" userId="51f5808b-b899-4853-a9c1-d0f056bcd62b" providerId="ADAL" clId="{6D74ED87-DB79-4CAF-BA45-025B60DFCFBD}" dt="2022-03-30T08:15:07.697" v="1301" actId="478"/>
          <ac:spMkLst>
            <pc:docMk/>
            <pc:sldMk cId="3915849602" sldId="2128751891"/>
            <ac:spMk id="169" creationId="{48935F6A-AADD-4B2F-90BD-D61D625B5740}"/>
          </ac:spMkLst>
        </pc:spChg>
        <pc:spChg chg="del">
          <ac:chgData name="Ojas Rajpal" userId="51f5808b-b899-4853-a9c1-d0f056bcd62b" providerId="ADAL" clId="{6D74ED87-DB79-4CAF-BA45-025B60DFCFBD}" dt="2022-03-30T08:15:07.697" v="1301" actId="478"/>
          <ac:spMkLst>
            <pc:docMk/>
            <pc:sldMk cId="3915849602" sldId="2128751891"/>
            <ac:spMk id="170" creationId="{3E7537DE-EABD-4E99-B205-C769DF8DA122}"/>
          </ac:spMkLst>
        </pc:spChg>
        <pc:spChg chg="del">
          <ac:chgData name="Ojas Rajpal" userId="51f5808b-b899-4853-a9c1-d0f056bcd62b" providerId="ADAL" clId="{6D74ED87-DB79-4CAF-BA45-025B60DFCFBD}" dt="2022-03-30T08:15:07.697" v="1301" actId="478"/>
          <ac:spMkLst>
            <pc:docMk/>
            <pc:sldMk cId="3915849602" sldId="2128751891"/>
            <ac:spMk id="171" creationId="{CED192F6-25DB-4ADD-B30B-367CD1B9F6A8}"/>
          </ac:spMkLst>
        </pc:spChg>
        <pc:spChg chg="del">
          <ac:chgData name="Ojas Rajpal" userId="51f5808b-b899-4853-a9c1-d0f056bcd62b" providerId="ADAL" clId="{6D74ED87-DB79-4CAF-BA45-025B60DFCFBD}" dt="2022-03-30T08:15:07.697" v="1301" actId="478"/>
          <ac:spMkLst>
            <pc:docMk/>
            <pc:sldMk cId="3915849602" sldId="2128751891"/>
            <ac:spMk id="172" creationId="{DD4ECBE3-1BC1-4D33-B854-F3A354E28338}"/>
          </ac:spMkLst>
        </pc:spChg>
        <pc:spChg chg="del">
          <ac:chgData name="Ojas Rajpal" userId="51f5808b-b899-4853-a9c1-d0f056bcd62b" providerId="ADAL" clId="{6D74ED87-DB79-4CAF-BA45-025B60DFCFBD}" dt="2022-03-30T08:15:07.697" v="1301" actId="478"/>
          <ac:spMkLst>
            <pc:docMk/>
            <pc:sldMk cId="3915849602" sldId="2128751891"/>
            <ac:spMk id="173" creationId="{9E24CA0D-2361-4835-972A-2CFF63B5C580}"/>
          </ac:spMkLst>
        </pc:spChg>
        <pc:spChg chg="del">
          <ac:chgData name="Ojas Rajpal" userId="51f5808b-b899-4853-a9c1-d0f056bcd62b" providerId="ADAL" clId="{6D74ED87-DB79-4CAF-BA45-025B60DFCFBD}" dt="2022-03-30T08:15:07.697" v="1301" actId="478"/>
          <ac:spMkLst>
            <pc:docMk/>
            <pc:sldMk cId="3915849602" sldId="2128751891"/>
            <ac:spMk id="175" creationId="{7144CAF1-A193-4C07-B43C-E3B713F4968C}"/>
          </ac:spMkLst>
        </pc:spChg>
        <pc:spChg chg="del">
          <ac:chgData name="Ojas Rajpal" userId="51f5808b-b899-4853-a9c1-d0f056bcd62b" providerId="ADAL" clId="{6D74ED87-DB79-4CAF-BA45-025B60DFCFBD}" dt="2022-03-30T08:28:03.339" v="2411" actId="478"/>
          <ac:spMkLst>
            <pc:docMk/>
            <pc:sldMk cId="3915849602" sldId="2128751891"/>
            <ac:spMk id="176" creationId="{0A9552FD-BD8D-4340-A110-04B5C2EDBD14}"/>
          </ac:spMkLst>
        </pc:spChg>
        <pc:spChg chg="del">
          <ac:chgData name="Ojas Rajpal" userId="51f5808b-b899-4853-a9c1-d0f056bcd62b" providerId="ADAL" clId="{6D74ED87-DB79-4CAF-BA45-025B60DFCFBD}" dt="2022-03-30T08:15:07.697" v="1301" actId="478"/>
          <ac:spMkLst>
            <pc:docMk/>
            <pc:sldMk cId="3915849602" sldId="2128751891"/>
            <ac:spMk id="177" creationId="{57E8A2AF-17B1-467E-9EE3-9DE338E0C297}"/>
          </ac:spMkLst>
        </pc:spChg>
        <pc:spChg chg="del">
          <ac:chgData name="Ojas Rajpal" userId="51f5808b-b899-4853-a9c1-d0f056bcd62b" providerId="ADAL" clId="{6D74ED87-DB79-4CAF-BA45-025B60DFCFBD}" dt="2022-03-30T08:15:07.697" v="1301" actId="478"/>
          <ac:spMkLst>
            <pc:docMk/>
            <pc:sldMk cId="3915849602" sldId="2128751891"/>
            <ac:spMk id="178" creationId="{66E78875-9F14-4740-A5CA-DE741E5EE5C2}"/>
          </ac:spMkLst>
        </pc:spChg>
        <pc:spChg chg="del">
          <ac:chgData name="Ojas Rajpal" userId="51f5808b-b899-4853-a9c1-d0f056bcd62b" providerId="ADAL" clId="{6D74ED87-DB79-4CAF-BA45-025B60DFCFBD}" dt="2022-03-30T08:15:07.697" v="1301" actId="478"/>
          <ac:spMkLst>
            <pc:docMk/>
            <pc:sldMk cId="3915849602" sldId="2128751891"/>
            <ac:spMk id="179" creationId="{9A11D8CF-F752-4D67-88E8-49E0AF6E21CB}"/>
          </ac:spMkLst>
        </pc:spChg>
        <pc:spChg chg="del">
          <ac:chgData name="Ojas Rajpal" userId="51f5808b-b899-4853-a9c1-d0f056bcd62b" providerId="ADAL" clId="{6D74ED87-DB79-4CAF-BA45-025B60DFCFBD}" dt="2022-03-30T08:15:07.697" v="1301" actId="478"/>
          <ac:spMkLst>
            <pc:docMk/>
            <pc:sldMk cId="3915849602" sldId="2128751891"/>
            <ac:spMk id="180" creationId="{FBCA7F28-C336-4DE4-A9DD-AE0AAF5BE987}"/>
          </ac:spMkLst>
        </pc:spChg>
        <pc:spChg chg="del">
          <ac:chgData name="Ojas Rajpal" userId="51f5808b-b899-4853-a9c1-d0f056bcd62b" providerId="ADAL" clId="{6D74ED87-DB79-4CAF-BA45-025B60DFCFBD}" dt="2022-03-30T08:15:07.697" v="1301" actId="478"/>
          <ac:spMkLst>
            <pc:docMk/>
            <pc:sldMk cId="3915849602" sldId="2128751891"/>
            <ac:spMk id="181" creationId="{C132BA64-BC7F-43CF-8C15-A3C743817CD2}"/>
          </ac:spMkLst>
        </pc:spChg>
        <pc:spChg chg="del">
          <ac:chgData name="Ojas Rajpal" userId="51f5808b-b899-4853-a9c1-d0f056bcd62b" providerId="ADAL" clId="{6D74ED87-DB79-4CAF-BA45-025B60DFCFBD}" dt="2022-03-30T08:15:07.697" v="1301" actId="478"/>
          <ac:spMkLst>
            <pc:docMk/>
            <pc:sldMk cId="3915849602" sldId="2128751891"/>
            <ac:spMk id="182" creationId="{4FE9C039-EABC-47C1-A25F-1F5042595D21}"/>
          </ac:spMkLst>
        </pc:spChg>
        <pc:spChg chg="del">
          <ac:chgData name="Ojas Rajpal" userId="51f5808b-b899-4853-a9c1-d0f056bcd62b" providerId="ADAL" clId="{6D74ED87-DB79-4CAF-BA45-025B60DFCFBD}" dt="2022-03-30T08:15:07.697" v="1301" actId="478"/>
          <ac:spMkLst>
            <pc:docMk/>
            <pc:sldMk cId="3915849602" sldId="2128751891"/>
            <ac:spMk id="184" creationId="{7B765B05-919E-4873-B467-17B0E16F557E}"/>
          </ac:spMkLst>
        </pc:spChg>
        <pc:spChg chg="del">
          <ac:chgData name="Ojas Rajpal" userId="51f5808b-b899-4853-a9c1-d0f056bcd62b" providerId="ADAL" clId="{6D74ED87-DB79-4CAF-BA45-025B60DFCFBD}" dt="2022-03-30T08:15:07.697" v="1301" actId="478"/>
          <ac:spMkLst>
            <pc:docMk/>
            <pc:sldMk cId="3915849602" sldId="2128751891"/>
            <ac:spMk id="185" creationId="{83E958BB-7C5E-41E1-A2E8-91E6EB28C9E2}"/>
          </ac:spMkLst>
        </pc:spChg>
        <pc:spChg chg="del">
          <ac:chgData name="Ojas Rajpal" userId="51f5808b-b899-4853-a9c1-d0f056bcd62b" providerId="ADAL" clId="{6D74ED87-DB79-4CAF-BA45-025B60DFCFBD}" dt="2022-03-30T08:15:07.697" v="1301" actId="478"/>
          <ac:spMkLst>
            <pc:docMk/>
            <pc:sldMk cId="3915849602" sldId="2128751891"/>
            <ac:spMk id="186" creationId="{5A9D8EC3-12CC-46B2-8960-AE7E879181C1}"/>
          </ac:spMkLst>
        </pc:spChg>
        <pc:spChg chg="del">
          <ac:chgData name="Ojas Rajpal" userId="51f5808b-b899-4853-a9c1-d0f056bcd62b" providerId="ADAL" clId="{6D74ED87-DB79-4CAF-BA45-025B60DFCFBD}" dt="2022-03-30T08:15:07.697" v="1301" actId="478"/>
          <ac:spMkLst>
            <pc:docMk/>
            <pc:sldMk cId="3915849602" sldId="2128751891"/>
            <ac:spMk id="187" creationId="{11B64D50-366E-49DD-A4A9-D7F565A8D459}"/>
          </ac:spMkLst>
        </pc:spChg>
        <pc:spChg chg="del">
          <ac:chgData name="Ojas Rajpal" userId="51f5808b-b899-4853-a9c1-d0f056bcd62b" providerId="ADAL" clId="{6D74ED87-DB79-4CAF-BA45-025B60DFCFBD}" dt="2022-03-30T08:15:07.697" v="1301" actId="478"/>
          <ac:spMkLst>
            <pc:docMk/>
            <pc:sldMk cId="3915849602" sldId="2128751891"/>
            <ac:spMk id="188" creationId="{99381D26-E1BC-4D2B-A3BB-58872EF6EDC1}"/>
          </ac:spMkLst>
        </pc:spChg>
        <pc:spChg chg="del">
          <ac:chgData name="Ojas Rajpal" userId="51f5808b-b899-4853-a9c1-d0f056bcd62b" providerId="ADAL" clId="{6D74ED87-DB79-4CAF-BA45-025B60DFCFBD}" dt="2022-03-30T08:15:07.697" v="1301" actId="478"/>
          <ac:spMkLst>
            <pc:docMk/>
            <pc:sldMk cId="3915849602" sldId="2128751891"/>
            <ac:spMk id="189" creationId="{BD6ACA66-3D75-459F-8862-C07F7E21B453}"/>
          </ac:spMkLst>
        </pc:spChg>
        <pc:spChg chg="del">
          <ac:chgData name="Ojas Rajpal" userId="51f5808b-b899-4853-a9c1-d0f056bcd62b" providerId="ADAL" clId="{6D74ED87-DB79-4CAF-BA45-025B60DFCFBD}" dt="2022-03-30T08:28:03.339" v="2411" actId="478"/>
          <ac:spMkLst>
            <pc:docMk/>
            <pc:sldMk cId="3915849602" sldId="2128751891"/>
            <ac:spMk id="190" creationId="{AC83FF06-3433-4D66-8F81-66BB16D3A104}"/>
          </ac:spMkLst>
        </pc:spChg>
        <pc:spChg chg="del">
          <ac:chgData name="Ojas Rajpal" userId="51f5808b-b899-4853-a9c1-d0f056bcd62b" providerId="ADAL" clId="{6D74ED87-DB79-4CAF-BA45-025B60DFCFBD}" dt="2022-03-30T08:15:07.697" v="1301" actId="478"/>
          <ac:spMkLst>
            <pc:docMk/>
            <pc:sldMk cId="3915849602" sldId="2128751891"/>
            <ac:spMk id="191" creationId="{335A7680-579B-4FD5-B7AA-9F249AA31425}"/>
          </ac:spMkLst>
        </pc:spChg>
        <pc:spChg chg="del">
          <ac:chgData name="Ojas Rajpal" userId="51f5808b-b899-4853-a9c1-d0f056bcd62b" providerId="ADAL" clId="{6D74ED87-DB79-4CAF-BA45-025B60DFCFBD}" dt="2022-03-30T08:15:07.697" v="1301" actId="478"/>
          <ac:spMkLst>
            <pc:docMk/>
            <pc:sldMk cId="3915849602" sldId="2128751891"/>
            <ac:spMk id="193" creationId="{BE551AFA-EF71-4BAC-ADD0-A407B2AC3A58}"/>
          </ac:spMkLst>
        </pc:spChg>
        <pc:spChg chg="del">
          <ac:chgData name="Ojas Rajpal" userId="51f5808b-b899-4853-a9c1-d0f056bcd62b" providerId="ADAL" clId="{6D74ED87-DB79-4CAF-BA45-025B60DFCFBD}" dt="2022-03-30T08:15:07.697" v="1301" actId="478"/>
          <ac:spMkLst>
            <pc:docMk/>
            <pc:sldMk cId="3915849602" sldId="2128751891"/>
            <ac:spMk id="194" creationId="{864AB59C-9A6D-468C-9393-D5062F656A0F}"/>
          </ac:spMkLst>
        </pc:spChg>
        <pc:spChg chg="del">
          <ac:chgData name="Ojas Rajpal" userId="51f5808b-b899-4853-a9c1-d0f056bcd62b" providerId="ADAL" clId="{6D74ED87-DB79-4CAF-BA45-025B60DFCFBD}" dt="2022-03-30T08:15:07.697" v="1301" actId="478"/>
          <ac:spMkLst>
            <pc:docMk/>
            <pc:sldMk cId="3915849602" sldId="2128751891"/>
            <ac:spMk id="195" creationId="{936FEC0C-EEBF-4657-BC06-F8EAE72D3EE9}"/>
          </ac:spMkLst>
        </pc:spChg>
        <pc:spChg chg="del">
          <ac:chgData name="Ojas Rajpal" userId="51f5808b-b899-4853-a9c1-d0f056bcd62b" providerId="ADAL" clId="{6D74ED87-DB79-4CAF-BA45-025B60DFCFBD}" dt="2022-03-30T08:28:03.339" v="2411" actId="478"/>
          <ac:spMkLst>
            <pc:docMk/>
            <pc:sldMk cId="3915849602" sldId="2128751891"/>
            <ac:spMk id="196" creationId="{8F86CA3C-A46C-42E7-92EA-343C3A09A3B6}"/>
          </ac:spMkLst>
        </pc:spChg>
        <pc:spChg chg="del">
          <ac:chgData name="Ojas Rajpal" userId="51f5808b-b899-4853-a9c1-d0f056bcd62b" providerId="ADAL" clId="{6D74ED87-DB79-4CAF-BA45-025B60DFCFBD}" dt="2022-03-30T08:15:07.697" v="1301" actId="478"/>
          <ac:spMkLst>
            <pc:docMk/>
            <pc:sldMk cId="3915849602" sldId="2128751891"/>
            <ac:spMk id="197" creationId="{F71DBDB4-D422-4C2F-A86C-D005E49FE755}"/>
          </ac:spMkLst>
        </pc:spChg>
        <pc:spChg chg="del">
          <ac:chgData name="Ojas Rajpal" userId="51f5808b-b899-4853-a9c1-d0f056bcd62b" providerId="ADAL" clId="{6D74ED87-DB79-4CAF-BA45-025B60DFCFBD}" dt="2022-03-30T08:15:07.697" v="1301" actId="478"/>
          <ac:spMkLst>
            <pc:docMk/>
            <pc:sldMk cId="3915849602" sldId="2128751891"/>
            <ac:spMk id="198" creationId="{4CED1423-F19E-426E-B54B-5DF722DB10E5}"/>
          </ac:spMkLst>
        </pc:spChg>
        <pc:spChg chg="del">
          <ac:chgData name="Ojas Rajpal" userId="51f5808b-b899-4853-a9c1-d0f056bcd62b" providerId="ADAL" clId="{6D74ED87-DB79-4CAF-BA45-025B60DFCFBD}" dt="2022-03-30T08:15:07.697" v="1301" actId="478"/>
          <ac:spMkLst>
            <pc:docMk/>
            <pc:sldMk cId="3915849602" sldId="2128751891"/>
            <ac:spMk id="199" creationId="{AF9520D3-4BFA-49F5-BF7A-004E0F93641F}"/>
          </ac:spMkLst>
        </pc:spChg>
        <pc:spChg chg="mod">
          <ac:chgData name="Ojas Rajpal" userId="51f5808b-b899-4853-a9c1-d0f056bcd62b" providerId="ADAL" clId="{6D74ED87-DB79-4CAF-BA45-025B60DFCFBD}" dt="2022-03-30T08:15:10.582" v="1302"/>
          <ac:spMkLst>
            <pc:docMk/>
            <pc:sldMk cId="3915849602" sldId="2128751891"/>
            <ac:spMk id="202" creationId="{9849E976-1165-4CD4-852C-34987C7F4556}"/>
          </ac:spMkLst>
        </pc:spChg>
        <pc:spChg chg="mod">
          <ac:chgData name="Ojas Rajpal" userId="51f5808b-b899-4853-a9c1-d0f056bcd62b" providerId="ADAL" clId="{6D74ED87-DB79-4CAF-BA45-025B60DFCFBD}" dt="2022-03-30T08:15:10.582" v="1302"/>
          <ac:spMkLst>
            <pc:docMk/>
            <pc:sldMk cId="3915849602" sldId="2128751891"/>
            <ac:spMk id="203" creationId="{E0F6D27D-C8FB-4E27-BA5A-4E5BC2A6EF8D}"/>
          </ac:spMkLst>
        </pc:spChg>
        <pc:spChg chg="mod">
          <ac:chgData name="Ojas Rajpal" userId="51f5808b-b899-4853-a9c1-d0f056bcd62b" providerId="ADAL" clId="{6D74ED87-DB79-4CAF-BA45-025B60DFCFBD}" dt="2022-03-30T08:15:10.582" v="1302"/>
          <ac:spMkLst>
            <pc:docMk/>
            <pc:sldMk cId="3915849602" sldId="2128751891"/>
            <ac:spMk id="205" creationId="{EC1CA851-470F-494D-9DFD-A7CBF7FBC34F}"/>
          </ac:spMkLst>
        </pc:spChg>
        <pc:spChg chg="mod">
          <ac:chgData name="Ojas Rajpal" userId="51f5808b-b899-4853-a9c1-d0f056bcd62b" providerId="ADAL" clId="{6D74ED87-DB79-4CAF-BA45-025B60DFCFBD}" dt="2022-03-30T08:15:10.582" v="1302"/>
          <ac:spMkLst>
            <pc:docMk/>
            <pc:sldMk cId="3915849602" sldId="2128751891"/>
            <ac:spMk id="206" creationId="{AAB2119B-2D40-4F78-BC87-D5858BB86A69}"/>
          </ac:spMkLst>
        </pc:spChg>
        <pc:spChg chg="mod">
          <ac:chgData name="Ojas Rajpal" userId="51f5808b-b899-4853-a9c1-d0f056bcd62b" providerId="ADAL" clId="{6D74ED87-DB79-4CAF-BA45-025B60DFCFBD}" dt="2022-03-30T08:15:10.582" v="1302"/>
          <ac:spMkLst>
            <pc:docMk/>
            <pc:sldMk cId="3915849602" sldId="2128751891"/>
            <ac:spMk id="208" creationId="{7F775D77-A47D-4E21-A59E-2B10B3EDAA1E}"/>
          </ac:spMkLst>
        </pc:spChg>
        <pc:spChg chg="mod">
          <ac:chgData name="Ojas Rajpal" userId="51f5808b-b899-4853-a9c1-d0f056bcd62b" providerId="ADAL" clId="{6D74ED87-DB79-4CAF-BA45-025B60DFCFBD}" dt="2022-03-30T08:15:10.582" v="1302"/>
          <ac:spMkLst>
            <pc:docMk/>
            <pc:sldMk cId="3915849602" sldId="2128751891"/>
            <ac:spMk id="209" creationId="{9DFA19A4-DB32-419D-A13E-F1C6EDBDBC20}"/>
          </ac:spMkLst>
        </pc:spChg>
        <pc:spChg chg="add del mod">
          <ac:chgData name="Ojas Rajpal" userId="51f5808b-b899-4853-a9c1-d0f056bcd62b" providerId="ADAL" clId="{6D74ED87-DB79-4CAF-BA45-025B60DFCFBD}" dt="2022-03-30T08:28:03.339" v="2411" actId="478"/>
          <ac:spMkLst>
            <pc:docMk/>
            <pc:sldMk cId="3915849602" sldId="2128751891"/>
            <ac:spMk id="210" creationId="{328DCB8F-1297-48D9-ACA0-96EE4CDA3AEA}"/>
          </ac:spMkLst>
        </pc:spChg>
        <pc:spChg chg="add del mod">
          <ac:chgData name="Ojas Rajpal" userId="51f5808b-b899-4853-a9c1-d0f056bcd62b" providerId="ADAL" clId="{6D74ED87-DB79-4CAF-BA45-025B60DFCFBD}" dt="2022-03-30T08:28:03.339" v="2411" actId="478"/>
          <ac:spMkLst>
            <pc:docMk/>
            <pc:sldMk cId="3915849602" sldId="2128751891"/>
            <ac:spMk id="211" creationId="{379F099A-202D-4F6A-941C-A3A14C4092C9}"/>
          </ac:spMkLst>
        </pc:spChg>
        <pc:spChg chg="add del mod">
          <ac:chgData name="Ojas Rajpal" userId="51f5808b-b899-4853-a9c1-d0f056bcd62b" providerId="ADAL" clId="{6D74ED87-DB79-4CAF-BA45-025B60DFCFBD}" dt="2022-03-30T08:28:03.339" v="2411" actId="478"/>
          <ac:spMkLst>
            <pc:docMk/>
            <pc:sldMk cId="3915849602" sldId="2128751891"/>
            <ac:spMk id="212" creationId="{4D66CC83-552E-448B-AFB9-2C6F727781E1}"/>
          </ac:spMkLst>
        </pc:spChg>
        <pc:spChg chg="add del mod">
          <ac:chgData name="Ojas Rajpal" userId="51f5808b-b899-4853-a9c1-d0f056bcd62b" providerId="ADAL" clId="{6D74ED87-DB79-4CAF-BA45-025B60DFCFBD}" dt="2022-03-30T08:28:03.339" v="2411" actId="478"/>
          <ac:spMkLst>
            <pc:docMk/>
            <pc:sldMk cId="3915849602" sldId="2128751891"/>
            <ac:spMk id="213" creationId="{284B4172-7359-45E2-8FA3-AF4E7EF1E5C9}"/>
          </ac:spMkLst>
        </pc:spChg>
        <pc:spChg chg="add del mod">
          <ac:chgData name="Ojas Rajpal" userId="51f5808b-b899-4853-a9c1-d0f056bcd62b" providerId="ADAL" clId="{6D74ED87-DB79-4CAF-BA45-025B60DFCFBD}" dt="2022-03-30T08:28:03.339" v="2411" actId="478"/>
          <ac:spMkLst>
            <pc:docMk/>
            <pc:sldMk cId="3915849602" sldId="2128751891"/>
            <ac:spMk id="214" creationId="{36AE112C-AC67-42B6-8462-C8F8573BAAF3}"/>
          </ac:spMkLst>
        </pc:spChg>
        <pc:spChg chg="add del mod">
          <ac:chgData name="Ojas Rajpal" userId="51f5808b-b899-4853-a9c1-d0f056bcd62b" providerId="ADAL" clId="{6D74ED87-DB79-4CAF-BA45-025B60DFCFBD}" dt="2022-03-30T08:28:03.339" v="2411" actId="478"/>
          <ac:spMkLst>
            <pc:docMk/>
            <pc:sldMk cId="3915849602" sldId="2128751891"/>
            <ac:spMk id="215" creationId="{6A878060-E2BE-4A6B-98E3-3B78FD65FF2E}"/>
          </ac:spMkLst>
        </pc:spChg>
        <pc:spChg chg="add del mod">
          <ac:chgData name="Ojas Rajpal" userId="51f5808b-b899-4853-a9c1-d0f056bcd62b" providerId="ADAL" clId="{6D74ED87-DB79-4CAF-BA45-025B60DFCFBD}" dt="2022-03-30T08:28:03.339" v="2411" actId="478"/>
          <ac:spMkLst>
            <pc:docMk/>
            <pc:sldMk cId="3915849602" sldId="2128751891"/>
            <ac:spMk id="216" creationId="{AE3D6E4E-1A14-4A95-9666-DEB7FE223692}"/>
          </ac:spMkLst>
        </pc:spChg>
        <pc:spChg chg="add del mod">
          <ac:chgData name="Ojas Rajpal" userId="51f5808b-b899-4853-a9c1-d0f056bcd62b" providerId="ADAL" clId="{6D74ED87-DB79-4CAF-BA45-025B60DFCFBD}" dt="2022-03-30T08:28:03.339" v="2411" actId="478"/>
          <ac:spMkLst>
            <pc:docMk/>
            <pc:sldMk cId="3915849602" sldId="2128751891"/>
            <ac:spMk id="217" creationId="{E0D0BCFD-A2B8-4677-8F58-2EC6A51150E8}"/>
          </ac:spMkLst>
        </pc:spChg>
        <pc:spChg chg="add del mod">
          <ac:chgData name="Ojas Rajpal" userId="51f5808b-b899-4853-a9c1-d0f056bcd62b" providerId="ADAL" clId="{6D74ED87-DB79-4CAF-BA45-025B60DFCFBD}" dt="2022-03-30T08:28:03.339" v="2411" actId="478"/>
          <ac:spMkLst>
            <pc:docMk/>
            <pc:sldMk cId="3915849602" sldId="2128751891"/>
            <ac:spMk id="218" creationId="{A6987D01-A6CC-43F1-854C-4D402D79EB85}"/>
          </ac:spMkLst>
        </pc:spChg>
        <pc:spChg chg="add del mod">
          <ac:chgData name="Ojas Rajpal" userId="51f5808b-b899-4853-a9c1-d0f056bcd62b" providerId="ADAL" clId="{6D74ED87-DB79-4CAF-BA45-025B60DFCFBD}" dt="2022-03-30T08:28:03.339" v="2411" actId="478"/>
          <ac:spMkLst>
            <pc:docMk/>
            <pc:sldMk cId="3915849602" sldId="2128751891"/>
            <ac:spMk id="219" creationId="{4B0D4CE1-36E1-4F8D-AF37-607919AB4993}"/>
          </ac:spMkLst>
        </pc:spChg>
        <pc:spChg chg="add del mod">
          <ac:chgData name="Ojas Rajpal" userId="51f5808b-b899-4853-a9c1-d0f056bcd62b" providerId="ADAL" clId="{6D74ED87-DB79-4CAF-BA45-025B60DFCFBD}" dt="2022-03-30T08:28:03.339" v="2411" actId="478"/>
          <ac:spMkLst>
            <pc:docMk/>
            <pc:sldMk cId="3915849602" sldId="2128751891"/>
            <ac:spMk id="220" creationId="{3A0DC926-245A-4025-8155-7D739D3C04DA}"/>
          </ac:spMkLst>
        </pc:spChg>
        <pc:spChg chg="add del mod">
          <ac:chgData name="Ojas Rajpal" userId="51f5808b-b899-4853-a9c1-d0f056bcd62b" providerId="ADAL" clId="{6D74ED87-DB79-4CAF-BA45-025B60DFCFBD}" dt="2022-03-30T08:28:03.339" v="2411" actId="478"/>
          <ac:spMkLst>
            <pc:docMk/>
            <pc:sldMk cId="3915849602" sldId="2128751891"/>
            <ac:spMk id="221" creationId="{CA3B5C04-8D86-4582-9268-62383B9F827A}"/>
          </ac:spMkLst>
        </pc:spChg>
        <pc:spChg chg="add del mod">
          <ac:chgData name="Ojas Rajpal" userId="51f5808b-b899-4853-a9c1-d0f056bcd62b" providerId="ADAL" clId="{6D74ED87-DB79-4CAF-BA45-025B60DFCFBD}" dt="2022-03-30T08:28:03.339" v="2411" actId="478"/>
          <ac:spMkLst>
            <pc:docMk/>
            <pc:sldMk cId="3915849602" sldId="2128751891"/>
            <ac:spMk id="222" creationId="{9956C9C1-B3B9-43C3-88D5-A05E4D67DE37}"/>
          </ac:spMkLst>
        </pc:spChg>
        <pc:spChg chg="add del mod">
          <ac:chgData name="Ojas Rajpal" userId="51f5808b-b899-4853-a9c1-d0f056bcd62b" providerId="ADAL" clId="{6D74ED87-DB79-4CAF-BA45-025B60DFCFBD}" dt="2022-03-30T08:28:03.339" v="2411" actId="478"/>
          <ac:spMkLst>
            <pc:docMk/>
            <pc:sldMk cId="3915849602" sldId="2128751891"/>
            <ac:spMk id="223" creationId="{EE5A94BB-6D85-4E40-84C2-ED72E5196D9D}"/>
          </ac:spMkLst>
        </pc:spChg>
        <pc:spChg chg="add del mod">
          <ac:chgData name="Ojas Rajpal" userId="51f5808b-b899-4853-a9c1-d0f056bcd62b" providerId="ADAL" clId="{6D74ED87-DB79-4CAF-BA45-025B60DFCFBD}" dt="2022-03-30T08:28:03.339" v="2411" actId="478"/>
          <ac:spMkLst>
            <pc:docMk/>
            <pc:sldMk cId="3915849602" sldId="2128751891"/>
            <ac:spMk id="224" creationId="{68A1DFBE-D250-4C01-86DC-9AD7EFFE0A0B}"/>
          </ac:spMkLst>
        </pc:spChg>
        <pc:spChg chg="add del mod">
          <ac:chgData name="Ojas Rajpal" userId="51f5808b-b899-4853-a9c1-d0f056bcd62b" providerId="ADAL" clId="{6D74ED87-DB79-4CAF-BA45-025B60DFCFBD}" dt="2022-03-30T08:28:03.339" v="2411" actId="478"/>
          <ac:spMkLst>
            <pc:docMk/>
            <pc:sldMk cId="3915849602" sldId="2128751891"/>
            <ac:spMk id="225" creationId="{732D3942-5AD1-4D47-9770-5A3688FDCF37}"/>
          </ac:spMkLst>
        </pc:spChg>
        <pc:spChg chg="add del mod">
          <ac:chgData name="Ojas Rajpal" userId="51f5808b-b899-4853-a9c1-d0f056bcd62b" providerId="ADAL" clId="{6D74ED87-DB79-4CAF-BA45-025B60DFCFBD}" dt="2022-03-30T08:28:03.339" v="2411" actId="478"/>
          <ac:spMkLst>
            <pc:docMk/>
            <pc:sldMk cId="3915849602" sldId="2128751891"/>
            <ac:spMk id="226" creationId="{C96F49A6-5449-4EBB-8A1C-8F3FA44EBD58}"/>
          </ac:spMkLst>
        </pc:spChg>
        <pc:spChg chg="add del mod">
          <ac:chgData name="Ojas Rajpal" userId="51f5808b-b899-4853-a9c1-d0f056bcd62b" providerId="ADAL" clId="{6D74ED87-DB79-4CAF-BA45-025B60DFCFBD}" dt="2022-03-30T08:28:03.339" v="2411" actId="478"/>
          <ac:spMkLst>
            <pc:docMk/>
            <pc:sldMk cId="3915849602" sldId="2128751891"/>
            <ac:spMk id="227" creationId="{5BCB3435-F97D-4A2D-A32C-BE51687842BA}"/>
          </ac:spMkLst>
        </pc:spChg>
        <pc:spChg chg="add del mod">
          <ac:chgData name="Ojas Rajpal" userId="51f5808b-b899-4853-a9c1-d0f056bcd62b" providerId="ADAL" clId="{6D74ED87-DB79-4CAF-BA45-025B60DFCFBD}" dt="2022-03-30T08:28:10.771" v="2413"/>
          <ac:spMkLst>
            <pc:docMk/>
            <pc:sldMk cId="3915849602" sldId="2128751891"/>
            <ac:spMk id="228" creationId="{634D1843-A5CB-405B-8020-C7A55F0D46FA}"/>
          </ac:spMkLst>
        </pc:spChg>
        <pc:spChg chg="add del mod">
          <ac:chgData name="Ojas Rajpal" userId="51f5808b-b899-4853-a9c1-d0f056bcd62b" providerId="ADAL" clId="{6D74ED87-DB79-4CAF-BA45-025B60DFCFBD}" dt="2022-03-30T08:28:10.771" v="2413"/>
          <ac:spMkLst>
            <pc:docMk/>
            <pc:sldMk cId="3915849602" sldId="2128751891"/>
            <ac:spMk id="229" creationId="{B61429C6-5BAD-461D-8B47-B049BB956D14}"/>
          </ac:spMkLst>
        </pc:spChg>
        <pc:spChg chg="add del mod">
          <ac:chgData name="Ojas Rajpal" userId="51f5808b-b899-4853-a9c1-d0f056bcd62b" providerId="ADAL" clId="{6D74ED87-DB79-4CAF-BA45-025B60DFCFBD}" dt="2022-03-30T08:28:10.771" v="2413"/>
          <ac:spMkLst>
            <pc:docMk/>
            <pc:sldMk cId="3915849602" sldId="2128751891"/>
            <ac:spMk id="230" creationId="{F88ACAA2-FE21-4775-BF72-E371B05E56C1}"/>
          </ac:spMkLst>
        </pc:spChg>
        <pc:spChg chg="add del mod">
          <ac:chgData name="Ojas Rajpal" userId="51f5808b-b899-4853-a9c1-d0f056bcd62b" providerId="ADAL" clId="{6D74ED87-DB79-4CAF-BA45-025B60DFCFBD}" dt="2022-03-30T08:28:10.771" v="2413"/>
          <ac:spMkLst>
            <pc:docMk/>
            <pc:sldMk cId="3915849602" sldId="2128751891"/>
            <ac:spMk id="231" creationId="{EDBAB697-DA0D-4FF8-B826-5569BF6293AF}"/>
          </ac:spMkLst>
        </pc:spChg>
        <pc:spChg chg="add del mod">
          <ac:chgData name="Ojas Rajpal" userId="51f5808b-b899-4853-a9c1-d0f056bcd62b" providerId="ADAL" clId="{6D74ED87-DB79-4CAF-BA45-025B60DFCFBD}" dt="2022-03-30T08:28:10.771" v="2413"/>
          <ac:spMkLst>
            <pc:docMk/>
            <pc:sldMk cId="3915849602" sldId="2128751891"/>
            <ac:spMk id="232" creationId="{CFCE7D5F-DE3A-4365-BC81-BD85D5E0BCCF}"/>
          </ac:spMkLst>
        </pc:spChg>
        <pc:spChg chg="add del mod">
          <ac:chgData name="Ojas Rajpal" userId="51f5808b-b899-4853-a9c1-d0f056bcd62b" providerId="ADAL" clId="{6D74ED87-DB79-4CAF-BA45-025B60DFCFBD}" dt="2022-03-30T08:28:10.771" v="2413"/>
          <ac:spMkLst>
            <pc:docMk/>
            <pc:sldMk cId="3915849602" sldId="2128751891"/>
            <ac:spMk id="233" creationId="{4EA76D31-C1BC-4B19-8DA7-98822F107C24}"/>
          </ac:spMkLst>
        </pc:spChg>
        <pc:spChg chg="add del mod">
          <ac:chgData name="Ojas Rajpal" userId="51f5808b-b899-4853-a9c1-d0f056bcd62b" providerId="ADAL" clId="{6D74ED87-DB79-4CAF-BA45-025B60DFCFBD}" dt="2022-03-30T08:28:10.771" v="2413"/>
          <ac:spMkLst>
            <pc:docMk/>
            <pc:sldMk cId="3915849602" sldId="2128751891"/>
            <ac:spMk id="234" creationId="{39A686CC-7EE5-4EB9-8820-48E97EE4493C}"/>
          </ac:spMkLst>
        </pc:spChg>
        <pc:spChg chg="add del mod">
          <ac:chgData name="Ojas Rajpal" userId="51f5808b-b899-4853-a9c1-d0f056bcd62b" providerId="ADAL" clId="{6D74ED87-DB79-4CAF-BA45-025B60DFCFBD}" dt="2022-03-30T08:28:10.771" v="2413"/>
          <ac:spMkLst>
            <pc:docMk/>
            <pc:sldMk cId="3915849602" sldId="2128751891"/>
            <ac:spMk id="235" creationId="{54F5F2D5-858E-4187-96A4-C5F281DE0350}"/>
          </ac:spMkLst>
        </pc:spChg>
        <pc:spChg chg="add del mod">
          <ac:chgData name="Ojas Rajpal" userId="51f5808b-b899-4853-a9c1-d0f056bcd62b" providerId="ADAL" clId="{6D74ED87-DB79-4CAF-BA45-025B60DFCFBD}" dt="2022-03-30T08:28:10.771" v="2413"/>
          <ac:spMkLst>
            <pc:docMk/>
            <pc:sldMk cId="3915849602" sldId="2128751891"/>
            <ac:spMk id="236" creationId="{B9849B2F-4EF6-47E4-B8F6-6DDFD1EFDBF8}"/>
          </ac:spMkLst>
        </pc:spChg>
        <pc:spChg chg="add del mod">
          <ac:chgData name="Ojas Rajpal" userId="51f5808b-b899-4853-a9c1-d0f056bcd62b" providerId="ADAL" clId="{6D74ED87-DB79-4CAF-BA45-025B60DFCFBD}" dt="2022-03-30T08:28:10.771" v="2413"/>
          <ac:spMkLst>
            <pc:docMk/>
            <pc:sldMk cId="3915849602" sldId="2128751891"/>
            <ac:spMk id="237" creationId="{F73C268A-E980-4A2D-BF2F-F953BCE3D9B3}"/>
          </ac:spMkLst>
        </pc:spChg>
        <pc:spChg chg="add del mod">
          <ac:chgData name="Ojas Rajpal" userId="51f5808b-b899-4853-a9c1-d0f056bcd62b" providerId="ADAL" clId="{6D74ED87-DB79-4CAF-BA45-025B60DFCFBD}" dt="2022-03-30T08:28:10.771" v="2413"/>
          <ac:spMkLst>
            <pc:docMk/>
            <pc:sldMk cId="3915849602" sldId="2128751891"/>
            <ac:spMk id="238" creationId="{6CF8D146-DB9D-4887-BAFA-2D5295AE82F9}"/>
          </ac:spMkLst>
        </pc:spChg>
        <pc:spChg chg="add del mod">
          <ac:chgData name="Ojas Rajpal" userId="51f5808b-b899-4853-a9c1-d0f056bcd62b" providerId="ADAL" clId="{6D74ED87-DB79-4CAF-BA45-025B60DFCFBD}" dt="2022-03-30T08:28:10.771" v="2413"/>
          <ac:spMkLst>
            <pc:docMk/>
            <pc:sldMk cId="3915849602" sldId="2128751891"/>
            <ac:spMk id="239" creationId="{5CACDD65-D321-47E0-A3DF-2BFDED8A151E}"/>
          </ac:spMkLst>
        </pc:spChg>
        <pc:spChg chg="add del mod">
          <ac:chgData name="Ojas Rajpal" userId="51f5808b-b899-4853-a9c1-d0f056bcd62b" providerId="ADAL" clId="{6D74ED87-DB79-4CAF-BA45-025B60DFCFBD}" dt="2022-03-30T08:28:10.771" v="2413"/>
          <ac:spMkLst>
            <pc:docMk/>
            <pc:sldMk cId="3915849602" sldId="2128751891"/>
            <ac:spMk id="240" creationId="{3642007F-88B5-4E05-9332-93E48BE46DE3}"/>
          </ac:spMkLst>
        </pc:spChg>
        <pc:spChg chg="add del mod">
          <ac:chgData name="Ojas Rajpal" userId="51f5808b-b899-4853-a9c1-d0f056bcd62b" providerId="ADAL" clId="{6D74ED87-DB79-4CAF-BA45-025B60DFCFBD}" dt="2022-03-30T08:28:10.771" v="2413"/>
          <ac:spMkLst>
            <pc:docMk/>
            <pc:sldMk cId="3915849602" sldId="2128751891"/>
            <ac:spMk id="241" creationId="{122D9C53-9960-411B-B845-4B148615060F}"/>
          </ac:spMkLst>
        </pc:spChg>
        <pc:spChg chg="add del mod">
          <ac:chgData name="Ojas Rajpal" userId="51f5808b-b899-4853-a9c1-d0f056bcd62b" providerId="ADAL" clId="{6D74ED87-DB79-4CAF-BA45-025B60DFCFBD}" dt="2022-03-30T08:28:10.771" v="2413"/>
          <ac:spMkLst>
            <pc:docMk/>
            <pc:sldMk cId="3915849602" sldId="2128751891"/>
            <ac:spMk id="242" creationId="{AEBA0F3C-C62B-4A6B-8CBA-8F7C4D0FEDA3}"/>
          </ac:spMkLst>
        </pc:spChg>
        <pc:spChg chg="add del mod">
          <ac:chgData name="Ojas Rajpal" userId="51f5808b-b899-4853-a9c1-d0f056bcd62b" providerId="ADAL" clId="{6D74ED87-DB79-4CAF-BA45-025B60DFCFBD}" dt="2022-03-30T08:28:10.771" v="2413"/>
          <ac:spMkLst>
            <pc:docMk/>
            <pc:sldMk cId="3915849602" sldId="2128751891"/>
            <ac:spMk id="243" creationId="{11FCA36B-BBD4-459C-B4BE-8D5B2098665B}"/>
          </ac:spMkLst>
        </pc:spChg>
        <pc:spChg chg="add del mod">
          <ac:chgData name="Ojas Rajpal" userId="51f5808b-b899-4853-a9c1-d0f056bcd62b" providerId="ADAL" clId="{6D74ED87-DB79-4CAF-BA45-025B60DFCFBD}" dt="2022-03-30T08:28:10.771" v="2413"/>
          <ac:spMkLst>
            <pc:docMk/>
            <pc:sldMk cId="3915849602" sldId="2128751891"/>
            <ac:spMk id="244" creationId="{F2848040-2F76-4EBE-AD37-56677C7480B4}"/>
          </ac:spMkLst>
        </pc:spChg>
        <pc:spChg chg="add del mod">
          <ac:chgData name="Ojas Rajpal" userId="51f5808b-b899-4853-a9c1-d0f056bcd62b" providerId="ADAL" clId="{6D74ED87-DB79-4CAF-BA45-025B60DFCFBD}" dt="2022-03-30T08:28:10.771" v="2413"/>
          <ac:spMkLst>
            <pc:docMk/>
            <pc:sldMk cId="3915849602" sldId="2128751891"/>
            <ac:spMk id="245" creationId="{1C3D37FA-98C8-4987-834A-761DD5B1484E}"/>
          </ac:spMkLst>
        </pc:spChg>
        <pc:spChg chg="add del mod">
          <ac:chgData name="Ojas Rajpal" userId="51f5808b-b899-4853-a9c1-d0f056bcd62b" providerId="ADAL" clId="{6D74ED87-DB79-4CAF-BA45-025B60DFCFBD}" dt="2022-03-30T08:36:12.984" v="3081" actId="478"/>
          <ac:spMkLst>
            <pc:docMk/>
            <pc:sldMk cId="3915849602" sldId="2128751891"/>
            <ac:spMk id="247" creationId="{C2873108-2CA4-4363-AD14-14502264328E}"/>
          </ac:spMkLst>
        </pc:spChg>
        <pc:spChg chg="add del mod">
          <ac:chgData name="Ojas Rajpal" userId="51f5808b-b899-4853-a9c1-d0f056bcd62b" providerId="ADAL" clId="{6D74ED87-DB79-4CAF-BA45-025B60DFCFBD}" dt="2022-03-30T08:36:12.984" v="3081" actId="478"/>
          <ac:spMkLst>
            <pc:docMk/>
            <pc:sldMk cId="3915849602" sldId="2128751891"/>
            <ac:spMk id="248" creationId="{509A1DF0-1D09-46E3-9612-C352149983C8}"/>
          </ac:spMkLst>
        </pc:spChg>
        <pc:spChg chg="add del mod">
          <ac:chgData name="Ojas Rajpal" userId="51f5808b-b899-4853-a9c1-d0f056bcd62b" providerId="ADAL" clId="{6D74ED87-DB79-4CAF-BA45-025B60DFCFBD}" dt="2022-03-30T08:36:12.984" v="3081" actId="478"/>
          <ac:spMkLst>
            <pc:docMk/>
            <pc:sldMk cId="3915849602" sldId="2128751891"/>
            <ac:spMk id="249" creationId="{A203889E-BE89-4EFD-9261-406EB2C0D0AA}"/>
          </ac:spMkLst>
        </pc:spChg>
        <pc:spChg chg="add del mod">
          <ac:chgData name="Ojas Rajpal" userId="51f5808b-b899-4853-a9c1-d0f056bcd62b" providerId="ADAL" clId="{6D74ED87-DB79-4CAF-BA45-025B60DFCFBD}" dt="2022-03-30T08:36:12.984" v="3081" actId="478"/>
          <ac:spMkLst>
            <pc:docMk/>
            <pc:sldMk cId="3915849602" sldId="2128751891"/>
            <ac:spMk id="250" creationId="{5C4594B7-C7B3-475D-AA7E-4FB2CA59B412}"/>
          </ac:spMkLst>
        </pc:spChg>
        <pc:spChg chg="add del mod">
          <ac:chgData name="Ojas Rajpal" userId="51f5808b-b899-4853-a9c1-d0f056bcd62b" providerId="ADAL" clId="{6D74ED87-DB79-4CAF-BA45-025B60DFCFBD}" dt="2022-03-30T08:36:12.984" v="3081" actId="478"/>
          <ac:spMkLst>
            <pc:docMk/>
            <pc:sldMk cId="3915849602" sldId="2128751891"/>
            <ac:spMk id="251" creationId="{15E5E70C-7CAD-4289-9A12-4871AA0B353C}"/>
          </ac:spMkLst>
        </pc:spChg>
        <pc:spChg chg="add del mod">
          <ac:chgData name="Ojas Rajpal" userId="51f5808b-b899-4853-a9c1-d0f056bcd62b" providerId="ADAL" clId="{6D74ED87-DB79-4CAF-BA45-025B60DFCFBD}" dt="2022-03-30T08:36:12.984" v="3081" actId="478"/>
          <ac:spMkLst>
            <pc:docMk/>
            <pc:sldMk cId="3915849602" sldId="2128751891"/>
            <ac:spMk id="252" creationId="{ED1971FB-1456-4286-A4BA-AF7B2308BDBA}"/>
          </ac:spMkLst>
        </pc:spChg>
        <pc:spChg chg="add del mod">
          <ac:chgData name="Ojas Rajpal" userId="51f5808b-b899-4853-a9c1-d0f056bcd62b" providerId="ADAL" clId="{6D74ED87-DB79-4CAF-BA45-025B60DFCFBD}" dt="2022-03-30T08:36:12.984" v="3081" actId="478"/>
          <ac:spMkLst>
            <pc:docMk/>
            <pc:sldMk cId="3915849602" sldId="2128751891"/>
            <ac:spMk id="253" creationId="{9CDA6B7A-9AF2-4BAF-A45F-94EC99EA538E}"/>
          </ac:spMkLst>
        </pc:spChg>
        <pc:spChg chg="add del mod">
          <ac:chgData name="Ojas Rajpal" userId="51f5808b-b899-4853-a9c1-d0f056bcd62b" providerId="ADAL" clId="{6D74ED87-DB79-4CAF-BA45-025B60DFCFBD}" dt="2022-03-30T08:36:12.984" v="3081" actId="478"/>
          <ac:spMkLst>
            <pc:docMk/>
            <pc:sldMk cId="3915849602" sldId="2128751891"/>
            <ac:spMk id="254" creationId="{34233919-A452-4E3D-BE79-4D2B2D3B06F0}"/>
          </ac:spMkLst>
        </pc:spChg>
        <pc:spChg chg="add del mod">
          <ac:chgData name="Ojas Rajpal" userId="51f5808b-b899-4853-a9c1-d0f056bcd62b" providerId="ADAL" clId="{6D74ED87-DB79-4CAF-BA45-025B60DFCFBD}" dt="2022-03-30T08:36:12.984" v="3081" actId="478"/>
          <ac:spMkLst>
            <pc:docMk/>
            <pc:sldMk cId="3915849602" sldId="2128751891"/>
            <ac:spMk id="255" creationId="{3035E685-6F27-4571-95F1-4A2847E03E54}"/>
          </ac:spMkLst>
        </pc:spChg>
        <pc:spChg chg="add del mod">
          <ac:chgData name="Ojas Rajpal" userId="51f5808b-b899-4853-a9c1-d0f056bcd62b" providerId="ADAL" clId="{6D74ED87-DB79-4CAF-BA45-025B60DFCFBD}" dt="2022-03-30T08:36:12.984" v="3081" actId="478"/>
          <ac:spMkLst>
            <pc:docMk/>
            <pc:sldMk cId="3915849602" sldId="2128751891"/>
            <ac:spMk id="256" creationId="{0EE85F16-0CE6-4189-B4F2-F821BC86C144}"/>
          </ac:spMkLst>
        </pc:spChg>
        <pc:spChg chg="add del mod">
          <ac:chgData name="Ojas Rajpal" userId="51f5808b-b899-4853-a9c1-d0f056bcd62b" providerId="ADAL" clId="{6D74ED87-DB79-4CAF-BA45-025B60DFCFBD}" dt="2022-03-30T08:39:17.536" v="3185" actId="478"/>
          <ac:spMkLst>
            <pc:docMk/>
            <pc:sldMk cId="3915849602" sldId="2128751891"/>
            <ac:spMk id="257" creationId="{5320BC97-9D3D-47FD-8176-CEA955A5348D}"/>
          </ac:spMkLst>
        </pc:spChg>
        <pc:spChg chg="add mod">
          <ac:chgData name="Ojas Rajpal" userId="51f5808b-b899-4853-a9c1-d0f056bcd62b" providerId="ADAL" clId="{6D74ED87-DB79-4CAF-BA45-025B60DFCFBD}" dt="2022-03-30T08:36:45.703" v="3082"/>
          <ac:spMkLst>
            <pc:docMk/>
            <pc:sldMk cId="3915849602" sldId="2128751891"/>
            <ac:spMk id="258" creationId="{D89C7226-ECE1-41D7-9120-554A393BF4E7}"/>
          </ac:spMkLst>
        </pc:spChg>
        <pc:spChg chg="mod">
          <ac:chgData name="Ojas Rajpal" userId="51f5808b-b899-4853-a9c1-d0f056bcd62b" providerId="ADAL" clId="{6D74ED87-DB79-4CAF-BA45-025B60DFCFBD}" dt="2022-03-30T08:36:45.703" v="3082"/>
          <ac:spMkLst>
            <pc:docMk/>
            <pc:sldMk cId="3915849602" sldId="2128751891"/>
            <ac:spMk id="260" creationId="{46CCF811-DD84-4F2C-9E4D-0D58FEC3C957}"/>
          </ac:spMkLst>
        </pc:spChg>
        <pc:spChg chg="mod">
          <ac:chgData name="Ojas Rajpal" userId="51f5808b-b899-4853-a9c1-d0f056bcd62b" providerId="ADAL" clId="{6D74ED87-DB79-4CAF-BA45-025B60DFCFBD}" dt="2022-03-30T08:36:45.703" v="3082"/>
          <ac:spMkLst>
            <pc:docMk/>
            <pc:sldMk cId="3915849602" sldId="2128751891"/>
            <ac:spMk id="262" creationId="{F70444B8-AA55-4C13-8899-FF1FEE23DFBD}"/>
          </ac:spMkLst>
        </pc:spChg>
        <pc:spChg chg="mod">
          <ac:chgData name="Ojas Rajpal" userId="51f5808b-b899-4853-a9c1-d0f056bcd62b" providerId="ADAL" clId="{6D74ED87-DB79-4CAF-BA45-025B60DFCFBD}" dt="2022-03-30T08:36:45.703" v="3082"/>
          <ac:spMkLst>
            <pc:docMk/>
            <pc:sldMk cId="3915849602" sldId="2128751891"/>
            <ac:spMk id="263" creationId="{95CD60DC-43EE-49BB-A78F-D262C855E4AD}"/>
          </ac:spMkLst>
        </pc:spChg>
        <pc:spChg chg="mod">
          <ac:chgData name="Ojas Rajpal" userId="51f5808b-b899-4853-a9c1-d0f056bcd62b" providerId="ADAL" clId="{6D74ED87-DB79-4CAF-BA45-025B60DFCFBD}" dt="2022-03-30T08:36:45.703" v="3082"/>
          <ac:spMkLst>
            <pc:docMk/>
            <pc:sldMk cId="3915849602" sldId="2128751891"/>
            <ac:spMk id="264" creationId="{AFBE114C-176E-424E-913D-95BCF40E6BCA}"/>
          </ac:spMkLst>
        </pc:spChg>
        <pc:spChg chg="del">
          <ac:chgData name="Ojas Rajpal" userId="51f5808b-b899-4853-a9c1-d0f056bcd62b" providerId="ADAL" clId="{6D74ED87-DB79-4CAF-BA45-025B60DFCFBD}" dt="2022-03-30T08:15:07.697" v="1301" actId="478"/>
          <ac:spMkLst>
            <pc:docMk/>
            <pc:sldMk cId="3915849602" sldId="2128751891"/>
            <ac:spMk id="382" creationId="{B7948CF0-DF3A-419E-9BD6-8DCDA6AFFDF0}"/>
          </ac:spMkLst>
        </pc:spChg>
        <pc:spChg chg="del">
          <ac:chgData name="Ojas Rajpal" userId="51f5808b-b899-4853-a9c1-d0f056bcd62b" providerId="ADAL" clId="{6D74ED87-DB79-4CAF-BA45-025B60DFCFBD}" dt="2022-03-30T08:15:07.697" v="1301" actId="478"/>
          <ac:spMkLst>
            <pc:docMk/>
            <pc:sldMk cId="3915849602" sldId="2128751891"/>
            <ac:spMk id="383" creationId="{3AFF4D9C-4245-4AC9-A7BE-9F4FFCD201BE}"/>
          </ac:spMkLst>
        </pc:spChg>
        <pc:spChg chg="del">
          <ac:chgData name="Ojas Rajpal" userId="51f5808b-b899-4853-a9c1-d0f056bcd62b" providerId="ADAL" clId="{6D74ED87-DB79-4CAF-BA45-025B60DFCFBD}" dt="2022-03-30T08:15:07.697" v="1301" actId="478"/>
          <ac:spMkLst>
            <pc:docMk/>
            <pc:sldMk cId="3915849602" sldId="2128751891"/>
            <ac:spMk id="384" creationId="{BBE7D6EE-6CF3-41B6-ACBC-7A04BD6F757E}"/>
          </ac:spMkLst>
        </pc:spChg>
        <pc:spChg chg="del">
          <ac:chgData name="Ojas Rajpal" userId="51f5808b-b899-4853-a9c1-d0f056bcd62b" providerId="ADAL" clId="{6D74ED87-DB79-4CAF-BA45-025B60DFCFBD}" dt="2022-03-30T08:15:07.697" v="1301" actId="478"/>
          <ac:spMkLst>
            <pc:docMk/>
            <pc:sldMk cId="3915849602" sldId="2128751891"/>
            <ac:spMk id="385" creationId="{E4198996-73F6-4DBD-8667-6EC053770B68}"/>
          </ac:spMkLst>
        </pc:spChg>
        <pc:spChg chg="del">
          <ac:chgData name="Ojas Rajpal" userId="51f5808b-b899-4853-a9c1-d0f056bcd62b" providerId="ADAL" clId="{6D74ED87-DB79-4CAF-BA45-025B60DFCFBD}" dt="2022-03-30T08:15:07.697" v="1301" actId="478"/>
          <ac:spMkLst>
            <pc:docMk/>
            <pc:sldMk cId="3915849602" sldId="2128751891"/>
            <ac:spMk id="386" creationId="{D4F2BA1E-1E9E-4459-8E21-E0C120CAD230}"/>
          </ac:spMkLst>
        </pc:spChg>
        <pc:grpChg chg="add mod">
          <ac:chgData name="Ojas Rajpal" userId="51f5808b-b899-4853-a9c1-d0f056bcd62b" providerId="ADAL" clId="{6D74ED87-DB79-4CAF-BA45-025B60DFCFBD}" dt="2022-03-30T08:39:44.943" v="3195" actId="164"/>
          <ac:grpSpMkLst>
            <pc:docMk/>
            <pc:sldMk cId="3915849602" sldId="2128751891"/>
            <ac:grpSpMk id="2" creationId="{D45DD489-49BD-492D-B3A1-FFEC31AA7327}"/>
          </ac:grpSpMkLst>
        </pc:grpChg>
        <pc:grpChg chg="add del mod">
          <ac:chgData name="Ojas Rajpal" userId="51f5808b-b899-4853-a9c1-d0f056bcd62b" providerId="ADAL" clId="{6D74ED87-DB79-4CAF-BA45-025B60DFCFBD}" dt="2022-03-30T08:28:03.339" v="2411" actId="478"/>
          <ac:grpSpMkLst>
            <pc:docMk/>
            <pc:sldMk cId="3915849602" sldId="2128751891"/>
            <ac:grpSpMk id="145" creationId="{51F39A56-8198-482B-8A60-4101FF3D8A01}"/>
          </ac:grpSpMkLst>
        </pc:grpChg>
        <pc:grpChg chg="add del mod">
          <ac:chgData name="Ojas Rajpal" userId="51f5808b-b899-4853-a9c1-d0f056bcd62b" providerId="ADAL" clId="{6D74ED87-DB79-4CAF-BA45-025B60DFCFBD}" dt="2022-03-30T08:28:03.339" v="2411" actId="478"/>
          <ac:grpSpMkLst>
            <pc:docMk/>
            <pc:sldMk cId="3915849602" sldId="2128751891"/>
            <ac:grpSpMk id="204" creationId="{259A8169-5E4F-461B-AFFF-F5CA566FD568}"/>
          </ac:grpSpMkLst>
        </pc:grpChg>
        <pc:grpChg chg="add del mod">
          <ac:chgData name="Ojas Rajpal" userId="51f5808b-b899-4853-a9c1-d0f056bcd62b" providerId="ADAL" clId="{6D74ED87-DB79-4CAF-BA45-025B60DFCFBD}" dt="2022-03-30T08:28:03.339" v="2411" actId="478"/>
          <ac:grpSpMkLst>
            <pc:docMk/>
            <pc:sldMk cId="3915849602" sldId="2128751891"/>
            <ac:grpSpMk id="207" creationId="{EB629074-794B-4B70-8ED0-B95562A81B1A}"/>
          </ac:grpSpMkLst>
        </pc:grpChg>
        <pc:grpChg chg="add mod">
          <ac:chgData name="Ojas Rajpal" userId="51f5808b-b899-4853-a9c1-d0f056bcd62b" providerId="ADAL" clId="{6D74ED87-DB79-4CAF-BA45-025B60DFCFBD}" dt="2022-03-30T08:36:45.703" v="3082"/>
          <ac:grpSpMkLst>
            <pc:docMk/>
            <pc:sldMk cId="3915849602" sldId="2128751891"/>
            <ac:grpSpMk id="259" creationId="{B8427A9F-D111-4D06-9F52-BAEF6A4255B3}"/>
          </ac:grpSpMkLst>
        </pc:grpChg>
        <pc:grpChg chg="mod">
          <ac:chgData name="Ojas Rajpal" userId="51f5808b-b899-4853-a9c1-d0f056bcd62b" providerId="ADAL" clId="{6D74ED87-DB79-4CAF-BA45-025B60DFCFBD}" dt="2022-03-30T08:36:45.703" v="3082"/>
          <ac:grpSpMkLst>
            <pc:docMk/>
            <pc:sldMk cId="3915849602" sldId="2128751891"/>
            <ac:grpSpMk id="261" creationId="{08698519-C6DC-4CDA-A6E3-B8F6BC718EFC}"/>
          </ac:grpSpMkLst>
        </pc:grpChg>
        <pc:grpChg chg="add mod">
          <ac:chgData name="Ojas Rajpal" userId="51f5808b-b899-4853-a9c1-d0f056bcd62b" providerId="ADAL" clId="{6D74ED87-DB79-4CAF-BA45-025B60DFCFBD}" dt="2022-03-30T08:39:44.943" v="3195" actId="164"/>
          <ac:grpSpMkLst>
            <pc:docMk/>
            <pc:sldMk cId="3915849602" sldId="2128751891"/>
            <ac:grpSpMk id="266" creationId="{A9755144-7DCB-4226-9541-46D3000783BB}"/>
          </ac:grpSpMkLst>
        </pc:grpChg>
        <pc:grpChg chg="del">
          <ac:chgData name="Ojas Rajpal" userId="51f5808b-b899-4853-a9c1-d0f056bcd62b" providerId="ADAL" clId="{6D74ED87-DB79-4CAF-BA45-025B60DFCFBD}" dt="2022-03-30T08:15:07.697" v="1301" actId="478"/>
          <ac:grpSpMkLst>
            <pc:docMk/>
            <pc:sldMk cId="3915849602" sldId="2128751891"/>
            <ac:grpSpMk id="327" creationId="{A6187B75-9832-4960-BB56-E4573FB9819B}"/>
          </ac:grpSpMkLst>
        </pc:grpChg>
        <pc:grpChg chg="del">
          <ac:chgData name="Ojas Rajpal" userId="51f5808b-b899-4853-a9c1-d0f056bcd62b" providerId="ADAL" clId="{6D74ED87-DB79-4CAF-BA45-025B60DFCFBD}" dt="2022-03-30T08:15:07.697" v="1301" actId="478"/>
          <ac:grpSpMkLst>
            <pc:docMk/>
            <pc:sldMk cId="3915849602" sldId="2128751891"/>
            <ac:grpSpMk id="375" creationId="{D57FF2F5-8A06-4A13-A13D-EA49C324C7C2}"/>
          </ac:grpSpMkLst>
        </pc:grpChg>
        <pc:graphicFrameChg chg="del">
          <ac:chgData name="Ojas Rajpal" userId="51f5808b-b899-4853-a9c1-d0f056bcd62b" providerId="ADAL" clId="{6D74ED87-DB79-4CAF-BA45-025B60DFCFBD}" dt="2022-03-30T08:15:04.067" v="1300" actId="478"/>
          <ac:graphicFrameMkLst>
            <pc:docMk/>
            <pc:sldMk cId="3915849602" sldId="2128751891"/>
            <ac:graphicFrameMk id="27" creationId="{1D6C8B76-4277-4DBD-9D74-124E6BA7800C}"/>
          </ac:graphicFrameMkLst>
        </pc:graphicFrameChg>
        <pc:graphicFrameChg chg="del">
          <ac:chgData name="Ojas Rajpal" userId="51f5808b-b899-4853-a9c1-d0f056bcd62b" providerId="ADAL" clId="{6D74ED87-DB79-4CAF-BA45-025B60DFCFBD}" dt="2022-03-30T08:15:07.697" v="1301" actId="478"/>
          <ac:graphicFrameMkLst>
            <pc:docMk/>
            <pc:sldMk cId="3915849602" sldId="2128751891"/>
            <ac:graphicFrameMk id="95" creationId="{D5091ADA-EA24-484C-85F8-B739D21E699E}"/>
          </ac:graphicFrameMkLst>
        </pc:graphicFrameChg>
        <pc:graphicFrameChg chg="del">
          <ac:chgData name="Ojas Rajpal" userId="51f5808b-b899-4853-a9c1-d0f056bcd62b" providerId="ADAL" clId="{6D74ED87-DB79-4CAF-BA45-025B60DFCFBD}" dt="2022-03-30T08:15:07.697" v="1301" actId="478"/>
          <ac:graphicFrameMkLst>
            <pc:docMk/>
            <pc:sldMk cId="3915849602" sldId="2128751891"/>
            <ac:graphicFrameMk id="96" creationId="{B3CCD433-ED11-443E-97FE-34B9190C9E97}"/>
          </ac:graphicFrameMkLst>
        </pc:graphicFrameChg>
        <pc:graphicFrameChg chg="add del mod modGraphic">
          <ac:chgData name="Ojas Rajpal" userId="51f5808b-b899-4853-a9c1-d0f056bcd62b" providerId="ADAL" clId="{6D74ED87-DB79-4CAF-BA45-025B60DFCFBD}" dt="2022-03-30T08:28:03.339" v="2411" actId="478"/>
          <ac:graphicFrameMkLst>
            <pc:docMk/>
            <pc:sldMk cId="3915849602" sldId="2128751891"/>
            <ac:graphicFrameMk id="144" creationId="{F00F6420-A4E7-463E-809A-2D97B4BC5963}"/>
          </ac:graphicFrameMkLst>
        </pc:graphicFrameChg>
        <pc:graphicFrameChg chg="del">
          <ac:chgData name="Ojas Rajpal" userId="51f5808b-b899-4853-a9c1-d0f056bcd62b" providerId="ADAL" clId="{6D74ED87-DB79-4CAF-BA45-025B60DFCFBD}" dt="2022-03-30T08:15:07.697" v="1301" actId="478"/>
          <ac:graphicFrameMkLst>
            <pc:docMk/>
            <pc:sldMk cId="3915849602" sldId="2128751891"/>
            <ac:graphicFrameMk id="146" creationId="{B524CD9E-80A8-44B4-B967-73D86C0BD011}"/>
          </ac:graphicFrameMkLst>
        </pc:graphicFrameChg>
        <pc:graphicFrameChg chg="del">
          <ac:chgData name="Ojas Rajpal" userId="51f5808b-b899-4853-a9c1-d0f056bcd62b" providerId="ADAL" clId="{6D74ED87-DB79-4CAF-BA45-025B60DFCFBD}" dt="2022-03-30T08:15:07.697" v="1301" actId="478"/>
          <ac:graphicFrameMkLst>
            <pc:docMk/>
            <pc:sldMk cId="3915849602" sldId="2128751891"/>
            <ac:graphicFrameMk id="156" creationId="{A9A7A854-79DE-4712-B4AD-AB433D59A239}"/>
          </ac:graphicFrameMkLst>
        </pc:graphicFrameChg>
        <pc:graphicFrameChg chg="del">
          <ac:chgData name="Ojas Rajpal" userId="51f5808b-b899-4853-a9c1-d0f056bcd62b" providerId="ADAL" clId="{6D74ED87-DB79-4CAF-BA45-025B60DFCFBD}" dt="2022-03-30T08:15:07.697" v="1301" actId="478"/>
          <ac:graphicFrameMkLst>
            <pc:docMk/>
            <pc:sldMk cId="3915849602" sldId="2128751891"/>
            <ac:graphicFrameMk id="165" creationId="{3A9CACBF-FF01-4EC2-8F5B-5A8233B9C1AE}"/>
          </ac:graphicFrameMkLst>
        </pc:graphicFrameChg>
        <pc:graphicFrameChg chg="del">
          <ac:chgData name="Ojas Rajpal" userId="51f5808b-b899-4853-a9c1-d0f056bcd62b" providerId="ADAL" clId="{6D74ED87-DB79-4CAF-BA45-025B60DFCFBD}" dt="2022-03-30T08:28:03.339" v="2411" actId="478"/>
          <ac:graphicFrameMkLst>
            <pc:docMk/>
            <pc:sldMk cId="3915849602" sldId="2128751891"/>
            <ac:graphicFrameMk id="174" creationId="{1830B8A3-AD3A-4BBD-89E7-C1069F258EFA}"/>
          </ac:graphicFrameMkLst>
        </pc:graphicFrameChg>
        <pc:graphicFrameChg chg="del">
          <ac:chgData name="Ojas Rajpal" userId="51f5808b-b899-4853-a9c1-d0f056bcd62b" providerId="ADAL" clId="{6D74ED87-DB79-4CAF-BA45-025B60DFCFBD}" dt="2022-03-30T08:28:03.339" v="2411" actId="478"/>
          <ac:graphicFrameMkLst>
            <pc:docMk/>
            <pc:sldMk cId="3915849602" sldId="2128751891"/>
            <ac:graphicFrameMk id="183" creationId="{C1501492-8BA3-4EC1-B4D3-72C371665D6F}"/>
          </ac:graphicFrameMkLst>
        </pc:graphicFrameChg>
        <pc:graphicFrameChg chg="del">
          <ac:chgData name="Ojas Rajpal" userId="51f5808b-b899-4853-a9c1-d0f056bcd62b" providerId="ADAL" clId="{6D74ED87-DB79-4CAF-BA45-025B60DFCFBD}" dt="2022-03-30T08:28:03.339" v="2411" actId="478"/>
          <ac:graphicFrameMkLst>
            <pc:docMk/>
            <pc:sldMk cId="3915849602" sldId="2128751891"/>
            <ac:graphicFrameMk id="192" creationId="{E07EF785-C899-40AC-B5A3-FCE2A7104744}"/>
          </ac:graphicFrameMkLst>
        </pc:graphicFrameChg>
        <pc:graphicFrameChg chg="add del mod modGraphic">
          <ac:chgData name="Ojas Rajpal" userId="51f5808b-b899-4853-a9c1-d0f056bcd62b" providerId="ADAL" clId="{6D74ED87-DB79-4CAF-BA45-025B60DFCFBD}" dt="2022-03-30T08:36:12.984" v="3081" actId="478"/>
          <ac:graphicFrameMkLst>
            <pc:docMk/>
            <pc:sldMk cId="3915849602" sldId="2128751891"/>
            <ac:graphicFrameMk id="246" creationId="{B61DF518-9CFB-4EB0-86DE-8F50B1CD5BC6}"/>
          </ac:graphicFrameMkLst>
        </pc:graphicFrameChg>
        <pc:graphicFrameChg chg="add del mod ord modGraphic">
          <ac:chgData name="Ojas Rajpal" userId="51f5808b-b899-4853-a9c1-d0f056bcd62b" providerId="ADAL" clId="{6D74ED87-DB79-4CAF-BA45-025B60DFCFBD}" dt="2022-03-30T08:39:44.943" v="3195" actId="164"/>
          <ac:graphicFrameMkLst>
            <pc:docMk/>
            <pc:sldMk cId="3915849602" sldId="2128751891"/>
            <ac:graphicFrameMk id="265" creationId="{7939F0F5-DA1C-4994-A99C-250D954A07EB}"/>
          </ac:graphicFrameMkLst>
        </pc:graphicFrameChg>
        <pc:cxnChg chg="del">
          <ac:chgData name="Ojas Rajpal" userId="51f5808b-b899-4853-a9c1-d0f056bcd62b" providerId="ADAL" clId="{6D74ED87-DB79-4CAF-BA45-025B60DFCFBD}" dt="2022-03-30T08:15:07.697" v="1301" actId="478"/>
          <ac:cxnSpMkLst>
            <pc:docMk/>
            <pc:sldMk cId="3915849602" sldId="2128751891"/>
            <ac:cxnSpMk id="154" creationId="{A539A24F-A7B6-4DC4-8415-74D614B3C2B1}"/>
          </ac:cxnSpMkLst>
        </pc:cxnChg>
        <pc:cxnChg chg="del">
          <ac:chgData name="Ojas Rajpal" userId="51f5808b-b899-4853-a9c1-d0f056bcd62b" providerId="ADAL" clId="{6D74ED87-DB79-4CAF-BA45-025B60DFCFBD}" dt="2022-03-30T08:15:07.697" v="1301" actId="478"/>
          <ac:cxnSpMkLst>
            <pc:docMk/>
            <pc:sldMk cId="3915849602" sldId="2128751891"/>
            <ac:cxnSpMk id="200" creationId="{DD796CD0-5405-4C60-8271-0841E6D20B1C}"/>
          </ac:cxnSpMkLst>
        </pc:cxnChg>
        <pc:cxnChg chg="del">
          <ac:chgData name="Ojas Rajpal" userId="51f5808b-b899-4853-a9c1-d0f056bcd62b" providerId="ADAL" clId="{6D74ED87-DB79-4CAF-BA45-025B60DFCFBD}" dt="2022-03-30T08:15:07.697" v="1301" actId="478"/>
          <ac:cxnSpMkLst>
            <pc:docMk/>
            <pc:sldMk cId="3915849602" sldId="2128751891"/>
            <ac:cxnSpMk id="201" creationId="{1C0D35F0-42B0-44EE-ADC2-28E4A8104ADE}"/>
          </ac:cxnSpMkLst>
        </pc:cxnChg>
        <pc:cxnChg chg="mod">
          <ac:chgData name="Ojas Rajpal" userId="51f5808b-b899-4853-a9c1-d0f056bcd62b" providerId="ADAL" clId="{6D74ED87-DB79-4CAF-BA45-025B60DFCFBD}" dt="2022-03-30T08:39:44.943" v="3195" actId="164"/>
          <ac:cxnSpMkLst>
            <pc:docMk/>
            <pc:sldMk cId="3915849602" sldId="2128751891"/>
            <ac:cxnSpMk id="267" creationId="{C646862E-4AD5-449C-82F8-B68EACAF595F}"/>
          </ac:cxnSpMkLst>
        </pc:cxnChg>
        <pc:cxnChg chg="mod">
          <ac:chgData name="Ojas Rajpal" userId="51f5808b-b899-4853-a9c1-d0f056bcd62b" providerId="ADAL" clId="{6D74ED87-DB79-4CAF-BA45-025B60DFCFBD}" dt="2022-03-30T08:39:44.943" v="3195" actId="164"/>
          <ac:cxnSpMkLst>
            <pc:docMk/>
            <pc:sldMk cId="3915849602" sldId="2128751891"/>
            <ac:cxnSpMk id="268" creationId="{1DEF7757-98F5-4097-9E5D-736F3EED3A75}"/>
          </ac:cxnSpMkLst>
        </pc:cxnChg>
        <pc:cxnChg chg="del">
          <ac:chgData name="Ojas Rajpal" userId="51f5808b-b899-4853-a9c1-d0f056bcd62b" providerId="ADAL" clId="{6D74ED87-DB79-4CAF-BA45-025B60DFCFBD}" dt="2022-03-30T08:15:07.697" v="1301" actId="478"/>
          <ac:cxnSpMkLst>
            <pc:docMk/>
            <pc:sldMk cId="3915849602" sldId="2128751891"/>
            <ac:cxnSpMk id="388" creationId="{73B65ED6-23CC-41FD-86FF-50B2FAC570E2}"/>
          </ac:cxnSpMkLst>
        </pc:cxnChg>
        <pc:cxnChg chg="del">
          <ac:chgData name="Ojas Rajpal" userId="51f5808b-b899-4853-a9c1-d0f056bcd62b" providerId="ADAL" clId="{6D74ED87-DB79-4CAF-BA45-025B60DFCFBD}" dt="2022-03-30T08:15:07.697" v="1301" actId="478"/>
          <ac:cxnSpMkLst>
            <pc:docMk/>
            <pc:sldMk cId="3915849602" sldId="2128751891"/>
            <ac:cxnSpMk id="389" creationId="{DC1F3FF7-E6DF-40D1-A239-F2DDFE4F31A9}"/>
          </ac:cxnSpMkLst>
        </pc:cxnChg>
      </pc:sldChg>
      <pc:sldChg chg="add del">
        <pc:chgData name="Ojas Rajpal" userId="51f5808b-b899-4853-a9c1-d0f056bcd62b" providerId="ADAL" clId="{6D74ED87-DB79-4CAF-BA45-025B60DFCFBD}" dt="2022-03-30T08:42:46.706" v="3272" actId="47"/>
        <pc:sldMkLst>
          <pc:docMk/>
          <pc:sldMk cId="4256178555" sldId="2128751892"/>
        </pc:sldMkLst>
      </pc:sldChg>
      <pc:sldChg chg="modSp add del mod">
        <pc:chgData name="Ojas Rajpal" userId="51f5808b-b899-4853-a9c1-d0f056bcd62b" providerId="ADAL" clId="{6D74ED87-DB79-4CAF-BA45-025B60DFCFBD}" dt="2022-03-30T08:42:46.706" v="3272" actId="47"/>
        <pc:sldMkLst>
          <pc:docMk/>
          <pc:sldMk cId="2953400280" sldId="2128751893"/>
        </pc:sldMkLst>
        <pc:graphicFrameChg chg="mod modGraphic">
          <ac:chgData name="Ojas Rajpal" userId="51f5808b-b899-4853-a9c1-d0f056bcd62b" providerId="ADAL" clId="{6D74ED87-DB79-4CAF-BA45-025B60DFCFBD}" dt="2022-03-30T08:40:26.645" v="3207" actId="404"/>
          <ac:graphicFrameMkLst>
            <pc:docMk/>
            <pc:sldMk cId="2953400280" sldId="2128751893"/>
            <ac:graphicFrameMk id="265" creationId="{7939F0F5-DA1C-4994-A99C-250D954A07EB}"/>
          </ac:graphicFrameMkLst>
        </pc:graphicFrameChg>
      </pc:sldChg>
      <pc:sldMasterChg chg="addSp delSp modSp mod delSldLayout modSldLayout sldLayoutOrd">
        <pc:chgData name="Ojas Rajpal" userId="51f5808b-b899-4853-a9c1-d0f056bcd62b" providerId="ADAL" clId="{6D74ED87-DB79-4CAF-BA45-025B60DFCFBD}" dt="2022-03-30T08:44:00.285" v="3381" actId="20577"/>
        <pc:sldMasterMkLst>
          <pc:docMk/>
          <pc:sldMasterMk cId="1230176099" sldId="2147483922"/>
        </pc:sldMasterMkLst>
        <pc:spChg chg="mod">
          <ac:chgData name="Ojas Rajpal" userId="51f5808b-b899-4853-a9c1-d0f056bcd62b" providerId="ADAL" clId="{6D74ED87-DB79-4CAF-BA45-025B60DFCFBD}" dt="2022-03-30T08:44:00.285" v="3381" actId="20577"/>
          <ac:spMkLst>
            <pc:docMk/>
            <pc:sldMasterMk cId="1230176099" sldId="2147483922"/>
            <ac:spMk id="27" creationId="{2DDEC6A6-5FD2-46B6-BDBD-88ED631CB867}"/>
          </ac:spMkLst>
        </pc:spChg>
        <pc:grpChg chg="add del mod">
          <ac:chgData name="Ojas Rajpal" userId="51f5808b-b899-4853-a9c1-d0f056bcd62b" providerId="ADAL" clId="{6D74ED87-DB79-4CAF-BA45-025B60DFCFBD}" dt="2022-03-30T08:43:38.350" v="3274"/>
          <ac:grpSpMkLst>
            <pc:docMk/>
            <pc:sldMasterMk cId="1230176099" sldId="2147483922"/>
            <ac:grpSpMk id="10" creationId="{51F6CE34-9EF1-4899-8B9E-4CEEBF9010DE}"/>
          </ac:grpSpMkLst>
        </pc:grpChg>
        <pc:cxnChg chg="mod">
          <ac:chgData name="Ojas Rajpal" userId="51f5808b-b899-4853-a9c1-d0f056bcd62b" providerId="ADAL" clId="{6D74ED87-DB79-4CAF-BA45-025B60DFCFBD}" dt="2022-03-30T08:43:37.049" v="3273"/>
          <ac:cxnSpMkLst>
            <pc:docMk/>
            <pc:sldMasterMk cId="1230176099" sldId="2147483922"/>
            <ac:cxnSpMk id="14" creationId="{A190823C-326B-411A-B740-D017086FB2A7}"/>
          </ac:cxnSpMkLst>
        </pc:cxnChg>
        <pc:cxnChg chg="mod">
          <ac:chgData name="Ojas Rajpal" userId="51f5808b-b899-4853-a9c1-d0f056bcd62b" providerId="ADAL" clId="{6D74ED87-DB79-4CAF-BA45-025B60DFCFBD}" dt="2022-03-30T08:43:37.049" v="3273"/>
          <ac:cxnSpMkLst>
            <pc:docMk/>
            <pc:sldMasterMk cId="1230176099" sldId="2147483922"/>
            <ac:cxnSpMk id="15" creationId="{6797C0C7-2CA9-454A-BFD9-0BB5AA37B1CF}"/>
          </ac:cxnSpMkLst>
        </pc:cxnChg>
        <pc:sldLayoutChg chg="del">
          <pc:chgData name="Ojas Rajpal" userId="51f5808b-b899-4853-a9c1-d0f056bcd62b" providerId="ADAL" clId="{6D74ED87-DB79-4CAF-BA45-025B60DFCFBD}" dt="2022-03-30T06:36:30.084" v="0" actId="2696"/>
          <pc:sldLayoutMkLst>
            <pc:docMk/>
            <pc:sldMasterMk cId="1230176099" sldId="2147483922"/>
            <pc:sldLayoutMk cId="2078384963" sldId="2147484022"/>
          </pc:sldLayoutMkLst>
        </pc:sldLayoutChg>
        <pc:sldLayoutChg chg="del">
          <pc:chgData name="Ojas Rajpal" userId="51f5808b-b899-4853-a9c1-d0f056bcd62b" providerId="ADAL" clId="{6D74ED87-DB79-4CAF-BA45-025B60DFCFBD}" dt="2022-03-30T06:36:39.720" v="1" actId="2696"/>
          <pc:sldLayoutMkLst>
            <pc:docMk/>
            <pc:sldMasterMk cId="1230176099" sldId="2147483922"/>
            <pc:sldLayoutMk cId="3875830055" sldId="2147484036"/>
          </pc:sldLayoutMkLst>
        </pc:sldLayoutChg>
        <pc:sldLayoutChg chg="del">
          <pc:chgData name="Ojas Rajpal" userId="51f5808b-b899-4853-a9c1-d0f056bcd62b" providerId="ADAL" clId="{6D74ED87-DB79-4CAF-BA45-025B60DFCFBD}" dt="2022-03-30T06:36:41.299" v="2" actId="2696"/>
          <pc:sldLayoutMkLst>
            <pc:docMk/>
            <pc:sldMasterMk cId="1230176099" sldId="2147483922"/>
            <pc:sldLayoutMk cId="1990018161" sldId="2147484037"/>
          </pc:sldLayoutMkLst>
        </pc:sldLayoutChg>
        <pc:sldLayoutChg chg="del">
          <pc:chgData name="Ojas Rajpal" userId="51f5808b-b899-4853-a9c1-d0f056bcd62b" providerId="ADAL" clId="{6D74ED87-DB79-4CAF-BA45-025B60DFCFBD}" dt="2022-03-30T06:36:42.799" v="3" actId="2696"/>
          <pc:sldLayoutMkLst>
            <pc:docMk/>
            <pc:sldMasterMk cId="1230176099" sldId="2147483922"/>
            <pc:sldLayoutMk cId="833927887" sldId="2147484038"/>
          </pc:sldLayoutMkLst>
        </pc:sldLayoutChg>
        <pc:sldLayoutChg chg="del">
          <pc:chgData name="Ojas Rajpal" userId="51f5808b-b899-4853-a9c1-d0f056bcd62b" providerId="ADAL" clId="{6D74ED87-DB79-4CAF-BA45-025B60DFCFBD}" dt="2022-03-30T06:36:44.904" v="4" actId="2696"/>
          <pc:sldLayoutMkLst>
            <pc:docMk/>
            <pc:sldMasterMk cId="1230176099" sldId="2147483922"/>
            <pc:sldLayoutMk cId="2002650245" sldId="2147484039"/>
          </pc:sldLayoutMkLst>
        </pc:sldLayoutChg>
        <pc:sldLayoutChg chg="del">
          <pc:chgData name="Ojas Rajpal" userId="51f5808b-b899-4853-a9c1-d0f056bcd62b" providerId="ADAL" clId="{6D74ED87-DB79-4CAF-BA45-025B60DFCFBD}" dt="2022-03-30T06:36:46.680" v="5" actId="2696"/>
          <pc:sldLayoutMkLst>
            <pc:docMk/>
            <pc:sldMasterMk cId="1230176099" sldId="2147483922"/>
            <pc:sldLayoutMk cId="834986176" sldId="2147484040"/>
          </pc:sldLayoutMkLst>
        </pc:sldLayoutChg>
        <pc:sldLayoutChg chg="modSp mod ord">
          <pc:chgData name="Ojas Rajpal" userId="51f5808b-b899-4853-a9c1-d0f056bcd62b" providerId="ADAL" clId="{6D74ED87-DB79-4CAF-BA45-025B60DFCFBD}" dt="2022-03-30T06:40:07.564" v="48" actId="20577"/>
          <pc:sldLayoutMkLst>
            <pc:docMk/>
            <pc:sldMasterMk cId="1230176099" sldId="2147483922"/>
            <pc:sldLayoutMk cId="3781204589" sldId="2147484041"/>
          </pc:sldLayoutMkLst>
          <pc:spChg chg="mod">
            <ac:chgData name="Ojas Rajpal" userId="51f5808b-b899-4853-a9c1-d0f056bcd62b" providerId="ADAL" clId="{6D74ED87-DB79-4CAF-BA45-025B60DFCFBD}" dt="2022-03-30T06:40:07.564" v="48" actId="20577"/>
            <ac:spMkLst>
              <pc:docMk/>
              <pc:sldMasterMk cId="1230176099" sldId="2147483922"/>
              <pc:sldLayoutMk cId="3781204589" sldId="2147484041"/>
              <ac:spMk id="28" creationId="{B3780330-0DD0-4333-8F9D-95DD85E507A9}"/>
            </ac:spMkLst>
          </pc:spChg>
        </pc:sldLayoutChg>
        <pc:sldLayoutChg chg="del">
          <pc:chgData name="Ojas Rajpal" userId="51f5808b-b899-4853-a9c1-d0f056bcd62b" providerId="ADAL" clId="{6D74ED87-DB79-4CAF-BA45-025B60DFCFBD}" dt="2022-03-30T06:37:15.674" v="6" actId="2696"/>
          <pc:sldLayoutMkLst>
            <pc:docMk/>
            <pc:sldMasterMk cId="1230176099" sldId="2147483922"/>
            <pc:sldLayoutMk cId="3656906202" sldId="2147484053"/>
          </pc:sldLayoutMkLst>
        </pc:sldLayoutChg>
        <pc:sldLayoutChg chg="del">
          <pc:chgData name="Ojas Rajpal" userId="51f5808b-b899-4853-a9c1-d0f056bcd62b" providerId="ADAL" clId="{6D74ED87-DB79-4CAF-BA45-025B60DFCFBD}" dt="2022-03-30T06:37:18.252" v="7" actId="2696"/>
          <pc:sldLayoutMkLst>
            <pc:docMk/>
            <pc:sldMasterMk cId="1230176099" sldId="2147483922"/>
            <pc:sldLayoutMk cId="2275556806" sldId="2147484054"/>
          </pc:sldLayoutMkLst>
        </pc:sldLayoutChg>
        <pc:sldLayoutChg chg="del">
          <pc:chgData name="Ojas Rajpal" userId="51f5808b-b899-4853-a9c1-d0f056bcd62b" providerId="ADAL" clId="{6D74ED87-DB79-4CAF-BA45-025B60DFCFBD}" dt="2022-03-30T06:37:25.228" v="8" actId="2696"/>
          <pc:sldLayoutMkLst>
            <pc:docMk/>
            <pc:sldMasterMk cId="1230176099" sldId="2147483922"/>
            <pc:sldLayoutMk cId="711970011" sldId="2147484056"/>
          </pc:sldLayoutMkLst>
        </pc:sldLayoutChg>
        <pc:sldLayoutChg chg="del">
          <pc:chgData name="Ojas Rajpal" userId="51f5808b-b899-4853-a9c1-d0f056bcd62b" providerId="ADAL" clId="{6D74ED87-DB79-4CAF-BA45-025B60DFCFBD}" dt="2022-03-30T06:37:26.924" v="9" actId="2696"/>
          <pc:sldLayoutMkLst>
            <pc:docMk/>
            <pc:sldMasterMk cId="1230176099" sldId="2147483922"/>
            <pc:sldLayoutMk cId="1287515115" sldId="2147484057"/>
          </pc:sldLayoutMkLst>
        </pc:sldLayoutChg>
        <pc:sldLayoutChg chg="del">
          <pc:chgData name="Ojas Rajpal" userId="51f5808b-b899-4853-a9c1-d0f056bcd62b" providerId="ADAL" clId="{6D74ED87-DB79-4CAF-BA45-025B60DFCFBD}" dt="2022-03-30T06:37:28.715" v="10" actId="2696"/>
          <pc:sldLayoutMkLst>
            <pc:docMk/>
            <pc:sldMasterMk cId="1230176099" sldId="2147483922"/>
            <pc:sldLayoutMk cId="1293058597" sldId="2147484058"/>
          </pc:sldLayoutMkLst>
        </pc:sldLayoutChg>
        <pc:sldLayoutChg chg="del">
          <pc:chgData name="Ojas Rajpal" userId="51f5808b-b899-4853-a9c1-d0f056bcd62b" providerId="ADAL" clId="{6D74ED87-DB79-4CAF-BA45-025B60DFCFBD}" dt="2022-03-30T06:37:30.250" v="11" actId="2696"/>
          <pc:sldLayoutMkLst>
            <pc:docMk/>
            <pc:sldMasterMk cId="1230176099" sldId="2147483922"/>
            <pc:sldLayoutMk cId="946597763" sldId="2147484059"/>
          </pc:sldLayoutMkLst>
        </pc:sldLayoutChg>
        <pc:sldLayoutChg chg="del">
          <pc:chgData name="Ojas Rajpal" userId="51f5808b-b899-4853-a9c1-d0f056bcd62b" providerId="ADAL" clId="{6D74ED87-DB79-4CAF-BA45-025B60DFCFBD}" dt="2022-03-30T06:37:32.353" v="12" actId="2696"/>
          <pc:sldLayoutMkLst>
            <pc:docMk/>
            <pc:sldMasterMk cId="1230176099" sldId="2147483922"/>
            <pc:sldLayoutMk cId="2265718230" sldId="2147484060"/>
          </pc:sldLayoutMkLst>
        </pc:sldLayoutChg>
        <pc:sldLayoutChg chg="del">
          <pc:chgData name="Ojas Rajpal" userId="51f5808b-b899-4853-a9c1-d0f056bcd62b" providerId="ADAL" clId="{6D74ED87-DB79-4CAF-BA45-025B60DFCFBD}" dt="2022-03-30T06:37:33.963" v="13" actId="2696"/>
          <pc:sldLayoutMkLst>
            <pc:docMk/>
            <pc:sldMasterMk cId="1230176099" sldId="2147483922"/>
            <pc:sldLayoutMk cId="1093959528" sldId="2147484072"/>
          </pc:sldLayoutMkLst>
        </pc:sldLayoutChg>
        <pc:sldLayoutChg chg="del">
          <pc:chgData name="Ojas Rajpal" userId="51f5808b-b899-4853-a9c1-d0f056bcd62b" providerId="ADAL" clId="{6D74ED87-DB79-4CAF-BA45-025B60DFCFBD}" dt="2022-03-30T06:37:35.544" v="14" actId="2696"/>
          <pc:sldLayoutMkLst>
            <pc:docMk/>
            <pc:sldMasterMk cId="1230176099" sldId="2147483922"/>
            <pc:sldLayoutMk cId="2002943818" sldId="2147484073"/>
          </pc:sldLayoutMkLst>
        </pc:sldLayoutChg>
        <pc:sldLayoutChg chg="del">
          <pc:chgData name="Ojas Rajpal" userId="51f5808b-b899-4853-a9c1-d0f056bcd62b" providerId="ADAL" clId="{6D74ED87-DB79-4CAF-BA45-025B60DFCFBD}" dt="2022-03-30T06:37:37.208" v="15" actId="2696"/>
          <pc:sldLayoutMkLst>
            <pc:docMk/>
            <pc:sldMasterMk cId="1230176099" sldId="2147483922"/>
            <pc:sldLayoutMk cId="2066323989" sldId="2147484074"/>
          </pc:sldLayoutMkLst>
        </pc:sldLayoutChg>
        <pc:sldLayoutChg chg="del">
          <pc:chgData name="Ojas Rajpal" userId="51f5808b-b899-4853-a9c1-d0f056bcd62b" providerId="ADAL" clId="{6D74ED87-DB79-4CAF-BA45-025B60DFCFBD}" dt="2022-03-30T06:37:38.846" v="16" actId="2696"/>
          <pc:sldLayoutMkLst>
            <pc:docMk/>
            <pc:sldMasterMk cId="1230176099" sldId="2147483922"/>
            <pc:sldLayoutMk cId="2390921212" sldId="2147484075"/>
          </pc:sldLayoutMkLst>
        </pc:sldLayoutChg>
        <pc:sldLayoutChg chg="del">
          <pc:chgData name="Ojas Rajpal" userId="51f5808b-b899-4853-a9c1-d0f056bcd62b" providerId="ADAL" clId="{6D74ED87-DB79-4CAF-BA45-025B60DFCFBD}" dt="2022-03-30T06:37:40.623" v="17" actId="2696"/>
          <pc:sldLayoutMkLst>
            <pc:docMk/>
            <pc:sldMasterMk cId="1230176099" sldId="2147483922"/>
            <pc:sldLayoutMk cId="1625967759" sldId="2147484076"/>
          </pc:sldLayoutMkLst>
        </pc:sldLayoutChg>
        <pc:sldLayoutChg chg="del">
          <pc:chgData name="Ojas Rajpal" userId="51f5808b-b899-4853-a9c1-d0f056bcd62b" providerId="ADAL" clId="{6D74ED87-DB79-4CAF-BA45-025B60DFCFBD}" dt="2022-03-30T06:37:42.223" v="18" actId="2696"/>
          <pc:sldLayoutMkLst>
            <pc:docMk/>
            <pc:sldMasterMk cId="1230176099" sldId="2147483922"/>
            <pc:sldLayoutMk cId="79194392" sldId="2147484077"/>
          </pc:sldLayoutMkLst>
        </pc:sldLayoutChg>
        <pc:sldLayoutChg chg="del">
          <pc:chgData name="Ojas Rajpal" userId="51f5808b-b899-4853-a9c1-d0f056bcd62b" providerId="ADAL" clId="{6D74ED87-DB79-4CAF-BA45-025B60DFCFBD}" dt="2022-03-30T06:37:47.696" v="19" actId="2696"/>
          <pc:sldLayoutMkLst>
            <pc:docMk/>
            <pc:sldMasterMk cId="1230176099" sldId="2147483922"/>
            <pc:sldLayoutMk cId="3820928222" sldId="2147484079"/>
          </pc:sldLayoutMkLst>
        </pc:sldLayoutChg>
        <pc:sldLayoutChg chg="del">
          <pc:chgData name="Ojas Rajpal" userId="51f5808b-b899-4853-a9c1-d0f056bcd62b" providerId="ADAL" clId="{6D74ED87-DB79-4CAF-BA45-025B60DFCFBD}" dt="2022-03-30T06:37:51.163" v="20" actId="2696"/>
          <pc:sldLayoutMkLst>
            <pc:docMk/>
            <pc:sldMasterMk cId="1230176099" sldId="2147483922"/>
            <pc:sldLayoutMk cId="1081440660" sldId="2147484091"/>
          </pc:sldLayoutMkLst>
        </pc:sldLayoutChg>
        <pc:sldLayoutChg chg="del">
          <pc:chgData name="Ojas Rajpal" userId="51f5808b-b899-4853-a9c1-d0f056bcd62b" providerId="ADAL" clId="{6D74ED87-DB79-4CAF-BA45-025B60DFCFBD}" dt="2022-03-30T06:37:55.032" v="21" actId="2696"/>
          <pc:sldLayoutMkLst>
            <pc:docMk/>
            <pc:sldMasterMk cId="1230176099" sldId="2147483922"/>
            <pc:sldLayoutMk cId="2325654247" sldId="2147484092"/>
          </pc:sldLayoutMkLst>
        </pc:sldLayoutChg>
        <pc:sldLayoutChg chg="del">
          <pc:chgData name="Ojas Rajpal" userId="51f5808b-b899-4853-a9c1-d0f056bcd62b" providerId="ADAL" clId="{6D74ED87-DB79-4CAF-BA45-025B60DFCFBD}" dt="2022-03-30T06:37:56.604" v="22" actId="2696"/>
          <pc:sldLayoutMkLst>
            <pc:docMk/>
            <pc:sldMasterMk cId="1230176099" sldId="2147483922"/>
            <pc:sldLayoutMk cId="568422843" sldId="2147484093"/>
          </pc:sldLayoutMkLst>
        </pc:sldLayoutChg>
        <pc:sldLayoutChg chg="del">
          <pc:chgData name="Ojas Rajpal" userId="51f5808b-b899-4853-a9c1-d0f056bcd62b" providerId="ADAL" clId="{6D74ED87-DB79-4CAF-BA45-025B60DFCFBD}" dt="2022-03-30T06:37:57.482" v="23" actId="2696"/>
          <pc:sldLayoutMkLst>
            <pc:docMk/>
            <pc:sldMasterMk cId="1230176099" sldId="2147483922"/>
            <pc:sldLayoutMk cId="1877464895" sldId="2147484094"/>
          </pc:sldLayoutMkLst>
        </pc:sldLayoutChg>
        <pc:sldLayoutChg chg="del">
          <pc:chgData name="Ojas Rajpal" userId="51f5808b-b899-4853-a9c1-d0f056bcd62b" providerId="ADAL" clId="{6D74ED87-DB79-4CAF-BA45-025B60DFCFBD}" dt="2022-03-30T06:37:58.314" v="24" actId="2696"/>
          <pc:sldLayoutMkLst>
            <pc:docMk/>
            <pc:sldMasterMk cId="1230176099" sldId="2147483922"/>
            <pc:sldLayoutMk cId="208338640" sldId="2147484095"/>
          </pc:sldLayoutMkLst>
        </pc:sldLayoutChg>
        <pc:sldLayoutChg chg="del">
          <pc:chgData name="Ojas Rajpal" userId="51f5808b-b899-4853-a9c1-d0f056bcd62b" providerId="ADAL" clId="{6D74ED87-DB79-4CAF-BA45-025B60DFCFBD}" dt="2022-03-30T06:37:59.508" v="25" actId="2696"/>
          <pc:sldLayoutMkLst>
            <pc:docMk/>
            <pc:sldMasterMk cId="1230176099" sldId="2147483922"/>
            <pc:sldLayoutMk cId="1449827989" sldId="2147484096"/>
          </pc:sldLayoutMkLst>
        </pc:sldLayoutChg>
        <pc:sldLayoutChg chg="del">
          <pc:chgData name="Ojas Rajpal" userId="51f5808b-b899-4853-a9c1-d0f056bcd62b" providerId="ADAL" clId="{6D74ED87-DB79-4CAF-BA45-025B60DFCFBD}" dt="2022-03-30T06:38:00.442" v="26" actId="2696"/>
          <pc:sldLayoutMkLst>
            <pc:docMk/>
            <pc:sldMasterMk cId="1230176099" sldId="2147483922"/>
            <pc:sldLayoutMk cId="3815094537" sldId="2147484097"/>
          </pc:sldLayoutMkLst>
        </pc:sldLayoutChg>
        <pc:sldLayoutChg chg="del">
          <pc:chgData name="Ojas Rajpal" userId="51f5808b-b899-4853-a9c1-d0f056bcd62b" providerId="ADAL" clId="{6D74ED87-DB79-4CAF-BA45-025B60DFCFBD}" dt="2022-03-30T06:38:01.702" v="27" actId="2696"/>
          <pc:sldLayoutMkLst>
            <pc:docMk/>
            <pc:sldMasterMk cId="1230176099" sldId="2147483922"/>
            <pc:sldLayoutMk cId="4147226800" sldId="2147484098"/>
          </pc:sldLayoutMkLst>
        </pc:sldLayoutChg>
        <pc:sldLayoutChg chg="del">
          <pc:chgData name="Ojas Rajpal" userId="51f5808b-b899-4853-a9c1-d0f056bcd62b" providerId="ADAL" clId="{6D74ED87-DB79-4CAF-BA45-025B60DFCFBD}" dt="2022-03-30T06:38:02.539" v="28" actId="2696"/>
          <pc:sldLayoutMkLst>
            <pc:docMk/>
            <pc:sldMasterMk cId="1230176099" sldId="2147483922"/>
            <pc:sldLayoutMk cId="272053911" sldId="2147484099"/>
          </pc:sldLayoutMkLst>
        </pc:sldLayoutChg>
        <pc:sldLayoutChg chg="del">
          <pc:chgData name="Ojas Rajpal" userId="51f5808b-b899-4853-a9c1-d0f056bcd62b" providerId="ADAL" clId="{6D74ED87-DB79-4CAF-BA45-025B60DFCFBD}" dt="2022-03-30T06:38:03.734" v="29" actId="2696"/>
          <pc:sldLayoutMkLst>
            <pc:docMk/>
            <pc:sldMasterMk cId="1230176099" sldId="2147483922"/>
            <pc:sldLayoutMk cId="994472587" sldId="2147484114"/>
          </pc:sldLayoutMkLst>
        </pc:sldLayoutChg>
        <pc:sldLayoutChg chg="del">
          <pc:chgData name="Ojas Rajpal" userId="51f5808b-b899-4853-a9c1-d0f056bcd62b" providerId="ADAL" clId="{6D74ED87-DB79-4CAF-BA45-025B60DFCFBD}" dt="2022-03-30T06:38:04.845" v="30" actId="2696"/>
          <pc:sldLayoutMkLst>
            <pc:docMk/>
            <pc:sldMasterMk cId="1230176099" sldId="2147483922"/>
            <pc:sldLayoutMk cId="59862085" sldId="2147484115"/>
          </pc:sldLayoutMkLst>
        </pc:sldLayoutChg>
        <pc:sldLayoutChg chg="del">
          <pc:chgData name="Ojas Rajpal" userId="51f5808b-b899-4853-a9c1-d0f056bcd62b" providerId="ADAL" clId="{6D74ED87-DB79-4CAF-BA45-025B60DFCFBD}" dt="2022-03-30T06:38:08.273" v="32" actId="2696"/>
          <pc:sldLayoutMkLst>
            <pc:docMk/>
            <pc:sldMasterMk cId="1230176099" sldId="2147483922"/>
            <pc:sldLayoutMk cId="3938219496" sldId="2147484116"/>
          </pc:sldLayoutMkLst>
        </pc:sldLayoutChg>
        <pc:sldLayoutChg chg="del">
          <pc:chgData name="Ojas Rajpal" userId="51f5808b-b899-4853-a9c1-d0f056bcd62b" providerId="ADAL" clId="{6D74ED87-DB79-4CAF-BA45-025B60DFCFBD}" dt="2022-03-30T06:38:06.598" v="31" actId="2696"/>
          <pc:sldLayoutMkLst>
            <pc:docMk/>
            <pc:sldMasterMk cId="1230176099" sldId="2147483922"/>
            <pc:sldLayoutMk cId="1498830535" sldId="2147484117"/>
          </pc:sldLayoutMkLst>
        </pc:sldLayoutChg>
      </pc:sldMasterChg>
    </pc:docChg>
  </pc:docChgLst>
  <pc:docChgLst>
    <pc:chgData name="Baruah, Meghna" userId="ec4d5429-f521-47c5-a69d-ddef68e95d51" providerId="ADAL" clId="{499B9E29-0DA7-FA4B-BF66-A67B9AE3B5E1}"/>
    <pc:docChg chg="modSld">
      <pc:chgData name="Baruah, Meghna" userId="ec4d5429-f521-47c5-a69d-ddef68e95d51" providerId="ADAL" clId="{499B9E29-0DA7-FA4B-BF66-A67B9AE3B5E1}" dt="2022-01-20T05:51:24.256" v="23" actId="13926"/>
      <pc:docMkLst>
        <pc:docMk/>
      </pc:docMkLst>
      <pc:sldChg chg="modSp mod">
        <pc:chgData name="Baruah, Meghna" userId="ec4d5429-f521-47c5-a69d-ddef68e95d51" providerId="ADAL" clId="{499B9E29-0DA7-FA4B-BF66-A67B9AE3B5E1}" dt="2022-01-20T05:50:53.959" v="21" actId="13926"/>
        <pc:sldMkLst>
          <pc:docMk/>
          <pc:sldMk cId="0" sldId="2511"/>
        </pc:sldMkLst>
        <pc:graphicFrameChg chg="mod modGraphic">
          <ac:chgData name="Baruah, Meghna" userId="ec4d5429-f521-47c5-a69d-ddef68e95d51" providerId="ADAL" clId="{499B9E29-0DA7-FA4B-BF66-A67B9AE3B5E1}" dt="2022-01-20T05:50:53.959" v="21" actId="13926"/>
          <ac:graphicFrameMkLst>
            <pc:docMk/>
            <pc:sldMk cId="0" sldId="2511"/>
            <ac:graphicFrameMk id="10" creationId="{49C635DE-C6D5-0B46-B8A7-4CB3E91CF61C}"/>
          </ac:graphicFrameMkLst>
        </pc:graphicFrameChg>
      </pc:sldChg>
      <pc:sldChg chg="modSp mod">
        <pc:chgData name="Baruah, Meghna" userId="ec4d5429-f521-47c5-a69d-ddef68e95d51" providerId="ADAL" clId="{499B9E29-0DA7-FA4B-BF66-A67B9AE3B5E1}" dt="2022-01-20T05:51:24.256" v="23" actId="13926"/>
        <pc:sldMkLst>
          <pc:docMk/>
          <pc:sldMk cId="1141233094" sldId="2524"/>
        </pc:sldMkLst>
        <pc:spChg chg="mod">
          <ac:chgData name="Baruah, Meghna" userId="ec4d5429-f521-47c5-a69d-ddef68e95d51" providerId="ADAL" clId="{499B9E29-0DA7-FA4B-BF66-A67B9AE3B5E1}" dt="2022-01-20T05:51:24.256" v="23" actId="13926"/>
          <ac:spMkLst>
            <pc:docMk/>
            <pc:sldMk cId="1141233094" sldId="2524"/>
            <ac:spMk id="2" creationId="{6A7B9603-F5D2-4A84-BCDB-F279EE284A79}"/>
          </ac:spMkLst>
        </pc:spChg>
      </pc:sldChg>
    </pc:docChg>
  </pc:docChgLst>
  <pc:docChgLst>
    <pc:chgData name="Baruah, Meghna" userId="ec4d5429-f521-47c5-a69d-ddef68e95d51" providerId="ADAL" clId="{6537FF7B-60B4-6943-9BA9-F660A4CCF9FA}"/>
    <pc:docChg chg="undo custSel modSld modMainMaster">
      <pc:chgData name="Baruah, Meghna" userId="ec4d5429-f521-47c5-a69d-ddef68e95d51" providerId="ADAL" clId="{6537FF7B-60B4-6943-9BA9-F660A4CCF9FA}" dt="2022-01-18T13:18:20.417" v="722" actId="20577"/>
      <pc:docMkLst>
        <pc:docMk/>
      </pc:docMkLst>
      <pc:sldChg chg="modSp mod">
        <pc:chgData name="Baruah, Meghna" userId="ec4d5429-f521-47c5-a69d-ddef68e95d51" providerId="ADAL" clId="{6537FF7B-60B4-6943-9BA9-F660A4CCF9FA}" dt="2022-01-18T11:39:38.562" v="26" actId="20577"/>
        <pc:sldMkLst>
          <pc:docMk/>
          <pc:sldMk cId="0" sldId="2511"/>
        </pc:sldMkLst>
        <pc:graphicFrameChg chg="modGraphic">
          <ac:chgData name="Baruah, Meghna" userId="ec4d5429-f521-47c5-a69d-ddef68e95d51" providerId="ADAL" clId="{6537FF7B-60B4-6943-9BA9-F660A4CCF9FA}" dt="2022-01-18T11:39:38.562" v="26" actId="20577"/>
          <ac:graphicFrameMkLst>
            <pc:docMk/>
            <pc:sldMk cId="0" sldId="2511"/>
            <ac:graphicFrameMk id="10" creationId="{49C635DE-C6D5-0B46-B8A7-4CB3E91CF61C}"/>
          </ac:graphicFrameMkLst>
        </pc:graphicFrameChg>
      </pc:sldChg>
      <pc:sldChg chg="modSp mod">
        <pc:chgData name="Baruah, Meghna" userId="ec4d5429-f521-47c5-a69d-ddef68e95d51" providerId="ADAL" clId="{6537FF7B-60B4-6943-9BA9-F660A4CCF9FA}" dt="2022-01-18T09:54:12.137" v="1" actId="20577"/>
        <pc:sldMkLst>
          <pc:docMk/>
          <pc:sldMk cId="1648547252" sldId="2549"/>
        </pc:sldMkLst>
        <pc:spChg chg="mod">
          <ac:chgData name="Baruah, Meghna" userId="ec4d5429-f521-47c5-a69d-ddef68e95d51" providerId="ADAL" clId="{6537FF7B-60B4-6943-9BA9-F660A4CCF9FA}" dt="2022-01-18T09:54:12.137" v="1" actId="20577"/>
          <ac:spMkLst>
            <pc:docMk/>
            <pc:sldMk cId="1648547252" sldId="2549"/>
            <ac:spMk id="18" creationId="{D626C4F4-5D6F-4B02-A59D-3D3511603D98}"/>
          </ac:spMkLst>
        </pc:spChg>
      </pc:sldChg>
      <pc:sldChg chg="modSp mod">
        <pc:chgData name="Baruah, Meghna" userId="ec4d5429-f521-47c5-a69d-ddef68e95d51" providerId="ADAL" clId="{6537FF7B-60B4-6943-9BA9-F660A4CCF9FA}" dt="2022-01-18T13:13:01.316" v="446" actId="20577"/>
        <pc:sldMkLst>
          <pc:docMk/>
          <pc:sldMk cId="1570553839" sldId="2552"/>
        </pc:sldMkLst>
        <pc:spChg chg="mod">
          <ac:chgData name="Baruah, Meghna" userId="ec4d5429-f521-47c5-a69d-ddef68e95d51" providerId="ADAL" clId="{6537FF7B-60B4-6943-9BA9-F660A4CCF9FA}" dt="2022-01-18T13:10:13.151" v="172" actId="1076"/>
          <ac:spMkLst>
            <pc:docMk/>
            <pc:sldMk cId="1570553839" sldId="2552"/>
            <ac:spMk id="147" creationId="{F130E015-D4F4-47C8-9681-0E4E0FDF4A0D}"/>
          </ac:spMkLst>
        </pc:spChg>
        <pc:spChg chg="mod">
          <ac:chgData name="Baruah, Meghna" userId="ec4d5429-f521-47c5-a69d-ddef68e95d51" providerId="ADAL" clId="{6537FF7B-60B4-6943-9BA9-F660A4CCF9FA}" dt="2022-01-18T13:10:15.919" v="173" actId="1076"/>
          <ac:spMkLst>
            <pc:docMk/>
            <pc:sldMk cId="1570553839" sldId="2552"/>
            <ac:spMk id="148" creationId="{B2B7C211-AFCD-4EAD-AAB2-F1C0191219F0}"/>
          </ac:spMkLst>
        </pc:spChg>
        <pc:spChg chg="mod">
          <ac:chgData name="Baruah, Meghna" userId="ec4d5429-f521-47c5-a69d-ddef68e95d51" providerId="ADAL" clId="{6537FF7B-60B4-6943-9BA9-F660A4CCF9FA}" dt="2022-01-18T13:10:01.939" v="170" actId="1076"/>
          <ac:spMkLst>
            <pc:docMk/>
            <pc:sldMk cId="1570553839" sldId="2552"/>
            <ac:spMk id="150" creationId="{48B833D2-CB66-4D2F-9979-84E55527D902}"/>
          </ac:spMkLst>
        </pc:spChg>
        <pc:spChg chg="mod">
          <ac:chgData name="Baruah, Meghna" userId="ec4d5429-f521-47c5-a69d-ddef68e95d51" providerId="ADAL" clId="{6537FF7B-60B4-6943-9BA9-F660A4CCF9FA}" dt="2022-01-18T13:09:52.470" v="159" actId="20577"/>
          <ac:spMkLst>
            <pc:docMk/>
            <pc:sldMk cId="1570553839" sldId="2552"/>
            <ac:spMk id="151" creationId="{08D9FB67-7359-43E3-AD6E-5DB9F21CF322}"/>
          </ac:spMkLst>
        </pc:spChg>
        <pc:spChg chg="mod">
          <ac:chgData name="Baruah, Meghna" userId="ec4d5429-f521-47c5-a69d-ddef68e95d51" providerId="ADAL" clId="{6537FF7B-60B4-6943-9BA9-F660A4CCF9FA}" dt="2022-01-18T13:10:08.945" v="171" actId="1076"/>
          <ac:spMkLst>
            <pc:docMk/>
            <pc:sldMk cId="1570553839" sldId="2552"/>
            <ac:spMk id="152" creationId="{84A357B6-67D0-43B8-9C45-52B66F5AD7ED}"/>
          </ac:spMkLst>
        </pc:spChg>
        <pc:spChg chg="mod">
          <ac:chgData name="Baruah, Meghna" userId="ec4d5429-f521-47c5-a69d-ddef68e95d51" providerId="ADAL" clId="{6537FF7B-60B4-6943-9BA9-F660A4CCF9FA}" dt="2022-01-18T13:10:46.046" v="220" actId="1076"/>
          <ac:spMkLst>
            <pc:docMk/>
            <pc:sldMk cId="1570553839" sldId="2552"/>
            <ac:spMk id="157" creationId="{D829B5A9-6024-49A5-9398-F643FA96CDE7}"/>
          </ac:spMkLst>
        </pc:spChg>
        <pc:spChg chg="mod">
          <ac:chgData name="Baruah, Meghna" userId="ec4d5429-f521-47c5-a69d-ddef68e95d51" providerId="ADAL" clId="{6537FF7B-60B4-6943-9BA9-F660A4CCF9FA}" dt="2022-01-18T13:10:25.880" v="188" actId="1037"/>
          <ac:spMkLst>
            <pc:docMk/>
            <pc:sldMk cId="1570553839" sldId="2552"/>
            <ac:spMk id="158" creationId="{EC8AFC0B-4C6A-4515-8145-B90D9517F213}"/>
          </ac:spMkLst>
        </pc:spChg>
        <pc:spChg chg="mod">
          <ac:chgData name="Baruah, Meghna" userId="ec4d5429-f521-47c5-a69d-ddef68e95d51" providerId="ADAL" clId="{6537FF7B-60B4-6943-9BA9-F660A4CCF9FA}" dt="2022-01-18T13:11:00.852" v="233" actId="1076"/>
          <ac:spMkLst>
            <pc:docMk/>
            <pc:sldMk cId="1570553839" sldId="2552"/>
            <ac:spMk id="160" creationId="{52BDF634-3CD5-4A8C-9927-DF0D58DF9819}"/>
          </ac:spMkLst>
        </pc:spChg>
        <pc:spChg chg="mod">
          <ac:chgData name="Baruah, Meghna" userId="ec4d5429-f521-47c5-a69d-ddef68e95d51" providerId="ADAL" clId="{6537FF7B-60B4-6943-9BA9-F660A4CCF9FA}" dt="2022-01-18T13:10:39.060" v="209" actId="1076"/>
          <ac:spMkLst>
            <pc:docMk/>
            <pc:sldMk cId="1570553839" sldId="2552"/>
            <ac:spMk id="161" creationId="{1CB9C4EA-9C7D-4DE4-A141-A3CB1DC2B575}"/>
          </ac:spMkLst>
        </pc:spChg>
        <pc:spChg chg="mod">
          <ac:chgData name="Baruah, Meghna" userId="ec4d5429-f521-47c5-a69d-ddef68e95d51" providerId="ADAL" clId="{6537FF7B-60B4-6943-9BA9-F660A4CCF9FA}" dt="2022-01-18T13:10:48.568" v="221" actId="1076"/>
          <ac:spMkLst>
            <pc:docMk/>
            <pc:sldMk cId="1570553839" sldId="2552"/>
            <ac:spMk id="163" creationId="{B51245D8-4A6F-4C36-95CC-8A575FAF324F}"/>
          </ac:spMkLst>
        </pc:spChg>
        <pc:spChg chg="mod">
          <ac:chgData name="Baruah, Meghna" userId="ec4d5429-f521-47c5-a69d-ddef68e95d51" providerId="ADAL" clId="{6537FF7B-60B4-6943-9BA9-F660A4CCF9FA}" dt="2022-01-18T13:11:34.840" v="288" actId="1076"/>
          <ac:spMkLst>
            <pc:docMk/>
            <pc:sldMk cId="1570553839" sldId="2552"/>
            <ac:spMk id="166" creationId="{3EAF428D-C868-4715-B122-652804582FB9}"/>
          </ac:spMkLst>
        </pc:spChg>
        <pc:spChg chg="mod">
          <ac:chgData name="Baruah, Meghna" userId="ec4d5429-f521-47c5-a69d-ddef68e95d51" providerId="ADAL" clId="{6537FF7B-60B4-6943-9BA9-F660A4CCF9FA}" dt="2022-01-18T13:11:28.202" v="277" actId="1076"/>
          <ac:spMkLst>
            <pc:docMk/>
            <pc:sldMk cId="1570553839" sldId="2552"/>
            <ac:spMk id="167" creationId="{7B348D76-8E77-4FB1-948D-B3B119147079}"/>
          </ac:spMkLst>
        </pc:spChg>
        <pc:spChg chg="mod">
          <ac:chgData name="Baruah, Meghna" userId="ec4d5429-f521-47c5-a69d-ddef68e95d51" providerId="ADAL" clId="{6537FF7B-60B4-6943-9BA9-F660A4CCF9FA}" dt="2022-01-18T13:11:16.288" v="264" actId="1076"/>
          <ac:spMkLst>
            <pc:docMk/>
            <pc:sldMk cId="1570553839" sldId="2552"/>
            <ac:spMk id="168" creationId="{8AC1C014-B345-441C-AB86-27106F1B3D84}"/>
          </ac:spMkLst>
        </pc:spChg>
        <pc:spChg chg="mod">
          <ac:chgData name="Baruah, Meghna" userId="ec4d5429-f521-47c5-a69d-ddef68e95d51" providerId="ADAL" clId="{6537FF7B-60B4-6943-9BA9-F660A4CCF9FA}" dt="2022-01-18T13:11:22.272" v="266" actId="1076"/>
          <ac:spMkLst>
            <pc:docMk/>
            <pc:sldMk cId="1570553839" sldId="2552"/>
            <ac:spMk id="170" creationId="{3E7537DE-EABD-4E99-B205-C769DF8DA122}"/>
          </ac:spMkLst>
        </pc:spChg>
        <pc:spChg chg="mod">
          <ac:chgData name="Baruah, Meghna" userId="ec4d5429-f521-47c5-a69d-ddef68e95d51" providerId="ADAL" clId="{6537FF7B-60B4-6943-9BA9-F660A4CCF9FA}" dt="2022-01-18T13:11:19.348" v="265" actId="1076"/>
          <ac:spMkLst>
            <pc:docMk/>
            <pc:sldMk cId="1570553839" sldId="2552"/>
            <ac:spMk id="172" creationId="{DD4ECBE3-1BC1-4D33-B854-F3A354E28338}"/>
          </ac:spMkLst>
        </pc:spChg>
        <pc:spChg chg="mod">
          <ac:chgData name="Baruah, Meghna" userId="ec4d5429-f521-47c5-a69d-ddef68e95d51" providerId="ADAL" clId="{6537FF7B-60B4-6943-9BA9-F660A4CCF9FA}" dt="2022-01-18T13:12:45.093" v="414" actId="20577"/>
          <ac:spMkLst>
            <pc:docMk/>
            <pc:sldMk cId="1570553839" sldId="2552"/>
            <ac:spMk id="175" creationId="{7144CAF1-A193-4C07-B43C-E3B713F4968C}"/>
          </ac:spMkLst>
        </pc:spChg>
        <pc:spChg chg="mod">
          <ac:chgData name="Baruah, Meghna" userId="ec4d5429-f521-47c5-a69d-ddef68e95d51" providerId="ADAL" clId="{6537FF7B-60B4-6943-9BA9-F660A4CCF9FA}" dt="2022-01-18T13:12:51.694" v="425" actId="1076"/>
          <ac:spMkLst>
            <pc:docMk/>
            <pc:sldMk cId="1570553839" sldId="2552"/>
            <ac:spMk id="176" creationId="{0A9552FD-BD8D-4340-A110-04B5C2EDBD14}"/>
          </ac:spMkLst>
        </pc:spChg>
        <pc:spChg chg="mod">
          <ac:chgData name="Baruah, Meghna" userId="ec4d5429-f521-47c5-a69d-ddef68e95d51" providerId="ADAL" clId="{6537FF7B-60B4-6943-9BA9-F660A4CCF9FA}" dt="2022-01-18T13:13:01.316" v="446" actId="20577"/>
          <ac:spMkLst>
            <pc:docMk/>
            <pc:sldMk cId="1570553839" sldId="2552"/>
            <ac:spMk id="178" creationId="{66E78875-9F14-4740-A5CA-DE741E5EE5C2}"/>
          </ac:spMkLst>
        </pc:spChg>
        <pc:spChg chg="mod">
          <ac:chgData name="Baruah, Meghna" userId="ec4d5429-f521-47c5-a69d-ddef68e95d51" providerId="ADAL" clId="{6537FF7B-60B4-6943-9BA9-F660A4CCF9FA}" dt="2022-01-18T13:12:41.882" v="404" actId="1076"/>
          <ac:spMkLst>
            <pc:docMk/>
            <pc:sldMk cId="1570553839" sldId="2552"/>
            <ac:spMk id="179" creationId="{9A11D8CF-F752-4D67-88E8-49E0AF6E21CB}"/>
          </ac:spMkLst>
        </pc:spChg>
        <pc:spChg chg="mod">
          <ac:chgData name="Baruah, Meghna" userId="ec4d5429-f521-47c5-a69d-ddef68e95d51" providerId="ADAL" clId="{6537FF7B-60B4-6943-9BA9-F660A4CCF9FA}" dt="2022-01-18T13:12:58.184" v="436" actId="1076"/>
          <ac:spMkLst>
            <pc:docMk/>
            <pc:sldMk cId="1570553839" sldId="2552"/>
            <ac:spMk id="180" creationId="{FBCA7F28-C336-4DE4-A9DD-AE0AAF5BE987}"/>
          </ac:spMkLst>
        </pc:spChg>
        <pc:spChg chg="mod">
          <ac:chgData name="Baruah, Meghna" userId="ec4d5429-f521-47c5-a69d-ddef68e95d51" providerId="ADAL" clId="{6537FF7B-60B4-6943-9BA9-F660A4CCF9FA}" dt="2022-01-18T13:12:09.336" v="359" actId="20577"/>
          <ac:spMkLst>
            <pc:docMk/>
            <pc:sldMk cId="1570553839" sldId="2552"/>
            <ac:spMk id="186" creationId="{5A9D8EC3-12CC-46B2-8960-AE7E879181C1}"/>
          </ac:spMkLst>
        </pc:spChg>
        <pc:spChg chg="mod">
          <ac:chgData name="Baruah, Meghna" userId="ec4d5429-f521-47c5-a69d-ddef68e95d51" providerId="ADAL" clId="{6537FF7B-60B4-6943-9BA9-F660A4CCF9FA}" dt="2022-01-18T13:12:23.610" v="381" actId="1076"/>
          <ac:spMkLst>
            <pc:docMk/>
            <pc:sldMk cId="1570553839" sldId="2552"/>
            <ac:spMk id="187" creationId="{11B64D50-366E-49DD-A4A9-D7F565A8D459}"/>
          </ac:spMkLst>
        </pc:spChg>
        <pc:spChg chg="mod">
          <ac:chgData name="Baruah, Meghna" userId="ec4d5429-f521-47c5-a69d-ddef68e95d51" providerId="ADAL" clId="{6537FF7B-60B4-6943-9BA9-F660A4CCF9FA}" dt="2022-01-18T13:12:34.120" v="393" actId="1076"/>
          <ac:spMkLst>
            <pc:docMk/>
            <pc:sldMk cId="1570553839" sldId="2552"/>
            <ac:spMk id="188" creationId="{99381D26-E1BC-4D2B-A3BB-58872EF6EDC1}"/>
          </ac:spMkLst>
        </pc:spChg>
        <pc:spChg chg="mod">
          <ac:chgData name="Baruah, Meghna" userId="ec4d5429-f521-47c5-a69d-ddef68e95d51" providerId="ADAL" clId="{6537FF7B-60B4-6943-9BA9-F660A4CCF9FA}" dt="2022-01-18T13:12:26.525" v="382" actId="1076"/>
          <ac:spMkLst>
            <pc:docMk/>
            <pc:sldMk cId="1570553839" sldId="2552"/>
            <ac:spMk id="189" creationId="{BD6ACA66-3D75-459F-8862-C07F7E21B453}"/>
          </ac:spMkLst>
        </pc:spChg>
        <pc:spChg chg="mod">
          <ac:chgData name="Baruah, Meghna" userId="ec4d5429-f521-47c5-a69d-ddef68e95d51" providerId="ADAL" clId="{6537FF7B-60B4-6943-9BA9-F660A4CCF9FA}" dt="2022-01-18T13:12:21.520" v="380" actId="1076"/>
          <ac:spMkLst>
            <pc:docMk/>
            <pc:sldMk cId="1570553839" sldId="2552"/>
            <ac:spMk id="190" creationId="{AC83FF06-3433-4D66-8F81-66BB16D3A104}"/>
          </ac:spMkLst>
        </pc:spChg>
        <pc:spChg chg="mod">
          <ac:chgData name="Baruah, Meghna" userId="ec4d5429-f521-47c5-a69d-ddef68e95d51" providerId="ADAL" clId="{6537FF7B-60B4-6943-9BA9-F660A4CCF9FA}" dt="2022-01-18T13:11:45.458" v="309" actId="20577"/>
          <ac:spMkLst>
            <pc:docMk/>
            <pc:sldMk cId="1570553839" sldId="2552"/>
            <ac:spMk id="195" creationId="{936FEC0C-EEBF-4657-BC06-F8EAE72D3EE9}"/>
          </ac:spMkLst>
        </pc:spChg>
        <pc:spChg chg="mod">
          <ac:chgData name="Baruah, Meghna" userId="ec4d5429-f521-47c5-a69d-ddef68e95d51" providerId="ADAL" clId="{6537FF7B-60B4-6943-9BA9-F660A4CCF9FA}" dt="2022-01-18T13:11:59.274" v="339" actId="20577"/>
          <ac:spMkLst>
            <pc:docMk/>
            <pc:sldMk cId="1570553839" sldId="2552"/>
            <ac:spMk id="196" creationId="{8F86CA3C-A46C-42E7-92EA-343C3A09A3B6}"/>
          </ac:spMkLst>
        </pc:spChg>
        <pc:spChg chg="mod">
          <ac:chgData name="Baruah, Meghna" userId="ec4d5429-f521-47c5-a69d-ddef68e95d51" providerId="ADAL" clId="{6537FF7B-60B4-6943-9BA9-F660A4CCF9FA}" dt="2022-01-18T13:11:54.873" v="329" actId="20577"/>
          <ac:spMkLst>
            <pc:docMk/>
            <pc:sldMk cId="1570553839" sldId="2552"/>
            <ac:spMk id="197" creationId="{F71DBDB4-D422-4C2F-A86C-D005E49FE755}"/>
          </ac:spMkLst>
        </pc:spChg>
        <pc:spChg chg="mod">
          <ac:chgData name="Baruah, Meghna" userId="ec4d5429-f521-47c5-a69d-ddef68e95d51" providerId="ADAL" clId="{6537FF7B-60B4-6943-9BA9-F660A4CCF9FA}" dt="2022-01-18T13:11:41.980" v="299" actId="1076"/>
          <ac:spMkLst>
            <pc:docMk/>
            <pc:sldMk cId="1570553839" sldId="2552"/>
            <ac:spMk id="198" creationId="{4CED1423-F19E-426E-B54B-5DF722DB10E5}"/>
          </ac:spMkLst>
        </pc:spChg>
        <pc:spChg chg="mod">
          <ac:chgData name="Baruah, Meghna" userId="ec4d5429-f521-47c5-a69d-ddef68e95d51" providerId="ADAL" clId="{6537FF7B-60B4-6943-9BA9-F660A4CCF9FA}" dt="2022-01-18T13:11:50.001" v="319" actId="20577"/>
          <ac:spMkLst>
            <pc:docMk/>
            <pc:sldMk cId="1570553839" sldId="2552"/>
            <ac:spMk id="199" creationId="{AF9520D3-4BFA-49F5-BF7A-004E0F93641F}"/>
          </ac:spMkLst>
        </pc:spChg>
      </pc:sldChg>
      <pc:sldChg chg="modSp mod">
        <pc:chgData name="Baruah, Meghna" userId="ec4d5429-f521-47c5-a69d-ddef68e95d51" providerId="ADAL" clId="{6537FF7B-60B4-6943-9BA9-F660A4CCF9FA}" dt="2022-01-18T13:17:33.739" v="698" actId="20577"/>
        <pc:sldMkLst>
          <pc:docMk/>
          <pc:sldMk cId="1840078534" sldId="2553"/>
        </pc:sldMkLst>
        <pc:spChg chg="mod">
          <ac:chgData name="Baruah, Meghna" userId="ec4d5429-f521-47c5-a69d-ddef68e95d51" providerId="ADAL" clId="{6537FF7B-60B4-6943-9BA9-F660A4CCF9FA}" dt="2022-01-18T13:14:24.478" v="512"/>
          <ac:spMkLst>
            <pc:docMk/>
            <pc:sldMk cId="1840078534" sldId="2553"/>
            <ac:spMk id="206" creationId="{703140D7-F4D8-4691-B1A6-5482BB27E10B}"/>
          </ac:spMkLst>
        </pc:spChg>
        <pc:spChg chg="mod">
          <ac:chgData name="Baruah, Meghna" userId="ec4d5429-f521-47c5-a69d-ddef68e95d51" providerId="ADAL" clId="{6537FF7B-60B4-6943-9BA9-F660A4CCF9FA}" dt="2022-01-18T13:14:24.478" v="512"/>
          <ac:spMkLst>
            <pc:docMk/>
            <pc:sldMk cId="1840078534" sldId="2553"/>
            <ac:spMk id="207" creationId="{43C85484-5BAB-4828-BCB0-F76545E29CDF}"/>
          </ac:spMkLst>
        </pc:spChg>
        <pc:spChg chg="mod">
          <ac:chgData name="Baruah, Meghna" userId="ec4d5429-f521-47c5-a69d-ddef68e95d51" providerId="ADAL" clId="{6537FF7B-60B4-6943-9BA9-F660A4CCF9FA}" dt="2022-01-18T13:14:24.478" v="512"/>
          <ac:spMkLst>
            <pc:docMk/>
            <pc:sldMk cId="1840078534" sldId="2553"/>
            <ac:spMk id="208" creationId="{FB37014F-8913-45BC-AEBC-8B38F49F1559}"/>
          </ac:spMkLst>
        </pc:spChg>
        <pc:spChg chg="mod">
          <ac:chgData name="Baruah, Meghna" userId="ec4d5429-f521-47c5-a69d-ddef68e95d51" providerId="ADAL" clId="{6537FF7B-60B4-6943-9BA9-F660A4CCF9FA}" dt="2022-01-18T13:14:24.478" v="512"/>
          <ac:spMkLst>
            <pc:docMk/>
            <pc:sldMk cId="1840078534" sldId="2553"/>
            <ac:spMk id="209" creationId="{5F6912BF-2D1E-4F84-AA8D-8E4783AE3E23}"/>
          </ac:spMkLst>
        </pc:spChg>
        <pc:spChg chg="mod">
          <ac:chgData name="Baruah, Meghna" userId="ec4d5429-f521-47c5-a69d-ddef68e95d51" providerId="ADAL" clId="{6537FF7B-60B4-6943-9BA9-F660A4CCF9FA}" dt="2022-01-18T13:14:24.478" v="512"/>
          <ac:spMkLst>
            <pc:docMk/>
            <pc:sldMk cId="1840078534" sldId="2553"/>
            <ac:spMk id="210" creationId="{70EDC70C-FFF8-409E-825D-E2E22DD9B6E6}"/>
          </ac:spMkLst>
        </pc:spChg>
        <pc:spChg chg="mod">
          <ac:chgData name="Baruah, Meghna" userId="ec4d5429-f521-47c5-a69d-ddef68e95d51" providerId="ADAL" clId="{6537FF7B-60B4-6943-9BA9-F660A4CCF9FA}" dt="2022-01-18T13:14:24.478" v="512"/>
          <ac:spMkLst>
            <pc:docMk/>
            <pc:sldMk cId="1840078534" sldId="2553"/>
            <ac:spMk id="211" creationId="{B4744183-0F5A-4DB9-976E-EB2FA6EFA37D}"/>
          </ac:spMkLst>
        </pc:spChg>
        <pc:spChg chg="mod">
          <ac:chgData name="Baruah, Meghna" userId="ec4d5429-f521-47c5-a69d-ddef68e95d51" providerId="ADAL" clId="{6537FF7B-60B4-6943-9BA9-F660A4CCF9FA}" dt="2022-01-18T13:14:24.478" v="512"/>
          <ac:spMkLst>
            <pc:docMk/>
            <pc:sldMk cId="1840078534" sldId="2553"/>
            <ac:spMk id="212" creationId="{66B0260B-F113-4AC3-8984-3A605A2398FD}"/>
          </ac:spMkLst>
        </pc:spChg>
        <pc:spChg chg="mod">
          <ac:chgData name="Baruah, Meghna" userId="ec4d5429-f521-47c5-a69d-ddef68e95d51" providerId="ADAL" clId="{6537FF7B-60B4-6943-9BA9-F660A4CCF9FA}" dt="2022-01-18T13:14:24.478" v="512"/>
          <ac:spMkLst>
            <pc:docMk/>
            <pc:sldMk cId="1840078534" sldId="2553"/>
            <ac:spMk id="213" creationId="{E908C402-3916-4F14-A17E-BAFD3E3065DD}"/>
          </ac:spMkLst>
        </pc:spChg>
        <pc:spChg chg="mod">
          <ac:chgData name="Baruah, Meghna" userId="ec4d5429-f521-47c5-a69d-ddef68e95d51" providerId="ADAL" clId="{6537FF7B-60B4-6943-9BA9-F660A4CCF9FA}" dt="2022-01-18T13:14:24.478" v="512"/>
          <ac:spMkLst>
            <pc:docMk/>
            <pc:sldMk cId="1840078534" sldId="2553"/>
            <ac:spMk id="214" creationId="{52DF7796-5B97-4DFB-94F5-E86706E4D09E}"/>
          </ac:spMkLst>
        </pc:spChg>
        <pc:spChg chg="mod">
          <ac:chgData name="Baruah, Meghna" userId="ec4d5429-f521-47c5-a69d-ddef68e95d51" providerId="ADAL" clId="{6537FF7B-60B4-6943-9BA9-F660A4CCF9FA}" dt="2022-01-18T13:14:24.478" v="512"/>
          <ac:spMkLst>
            <pc:docMk/>
            <pc:sldMk cId="1840078534" sldId="2553"/>
            <ac:spMk id="215" creationId="{23407125-7099-4528-A31D-B96103B750D2}"/>
          </ac:spMkLst>
        </pc:spChg>
        <pc:spChg chg="mod">
          <ac:chgData name="Baruah, Meghna" userId="ec4d5429-f521-47c5-a69d-ddef68e95d51" providerId="ADAL" clId="{6537FF7B-60B4-6943-9BA9-F660A4CCF9FA}" dt="2022-01-18T13:14:24.478" v="512"/>
          <ac:spMkLst>
            <pc:docMk/>
            <pc:sldMk cId="1840078534" sldId="2553"/>
            <ac:spMk id="216" creationId="{8A2E5211-A2F2-4D62-B76D-91FEE0BD394F}"/>
          </ac:spMkLst>
        </pc:spChg>
        <pc:spChg chg="mod">
          <ac:chgData name="Baruah, Meghna" userId="ec4d5429-f521-47c5-a69d-ddef68e95d51" providerId="ADAL" clId="{6537FF7B-60B4-6943-9BA9-F660A4CCF9FA}" dt="2022-01-18T13:14:24.478" v="512"/>
          <ac:spMkLst>
            <pc:docMk/>
            <pc:sldMk cId="1840078534" sldId="2553"/>
            <ac:spMk id="217" creationId="{516BF131-6292-46BA-B39A-F74424A4E615}"/>
          </ac:spMkLst>
        </pc:spChg>
        <pc:spChg chg="mod">
          <ac:chgData name="Baruah, Meghna" userId="ec4d5429-f521-47c5-a69d-ddef68e95d51" providerId="ADAL" clId="{6537FF7B-60B4-6943-9BA9-F660A4CCF9FA}" dt="2022-01-18T13:14:24.478" v="512"/>
          <ac:spMkLst>
            <pc:docMk/>
            <pc:sldMk cId="1840078534" sldId="2553"/>
            <ac:spMk id="218" creationId="{BF45D3C5-D313-4BD8-AB43-B487179D6CB3}"/>
          </ac:spMkLst>
        </pc:spChg>
        <pc:spChg chg="mod">
          <ac:chgData name="Baruah, Meghna" userId="ec4d5429-f521-47c5-a69d-ddef68e95d51" providerId="ADAL" clId="{6537FF7B-60B4-6943-9BA9-F660A4CCF9FA}" dt="2022-01-18T13:14:24.478" v="512"/>
          <ac:spMkLst>
            <pc:docMk/>
            <pc:sldMk cId="1840078534" sldId="2553"/>
            <ac:spMk id="219" creationId="{AEA3FD8B-0FBD-464D-AE20-60F1D6F6FB08}"/>
          </ac:spMkLst>
        </pc:spChg>
        <pc:spChg chg="mod">
          <ac:chgData name="Baruah, Meghna" userId="ec4d5429-f521-47c5-a69d-ddef68e95d51" providerId="ADAL" clId="{6537FF7B-60B4-6943-9BA9-F660A4CCF9FA}" dt="2022-01-18T13:14:24.478" v="512"/>
          <ac:spMkLst>
            <pc:docMk/>
            <pc:sldMk cId="1840078534" sldId="2553"/>
            <ac:spMk id="220" creationId="{836FD6C5-A0F0-4A23-A722-EF6BA7C2D174}"/>
          </ac:spMkLst>
        </pc:spChg>
        <pc:spChg chg="mod">
          <ac:chgData name="Baruah, Meghna" userId="ec4d5429-f521-47c5-a69d-ddef68e95d51" providerId="ADAL" clId="{6537FF7B-60B4-6943-9BA9-F660A4CCF9FA}" dt="2022-01-18T13:14:24.478" v="512"/>
          <ac:spMkLst>
            <pc:docMk/>
            <pc:sldMk cId="1840078534" sldId="2553"/>
            <ac:spMk id="221" creationId="{E2CFA13B-10CA-4181-A3A0-FE5F1C9DF173}"/>
          </ac:spMkLst>
        </pc:spChg>
        <pc:spChg chg="mod">
          <ac:chgData name="Baruah, Meghna" userId="ec4d5429-f521-47c5-a69d-ddef68e95d51" providerId="ADAL" clId="{6537FF7B-60B4-6943-9BA9-F660A4CCF9FA}" dt="2022-01-18T13:14:24.478" v="512"/>
          <ac:spMkLst>
            <pc:docMk/>
            <pc:sldMk cId="1840078534" sldId="2553"/>
            <ac:spMk id="222" creationId="{3744C5F8-7AB1-4BC7-ABAD-CFDA2933D553}"/>
          </ac:spMkLst>
        </pc:spChg>
        <pc:spChg chg="mod">
          <ac:chgData name="Baruah, Meghna" userId="ec4d5429-f521-47c5-a69d-ddef68e95d51" providerId="ADAL" clId="{6537FF7B-60B4-6943-9BA9-F660A4CCF9FA}" dt="2022-01-18T13:14:24.478" v="512"/>
          <ac:spMkLst>
            <pc:docMk/>
            <pc:sldMk cId="1840078534" sldId="2553"/>
            <ac:spMk id="223" creationId="{0C3AC484-3863-45B6-B195-0663C57CE20F}"/>
          </ac:spMkLst>
        </pc:spChg>
        <pc:spChg chg="mod">
          <ac:chgData name="Baruah, Meghna" userId="ec4d5429-f521-47c5-a69d-ddef68e95d51" providerId="ADAL" clId="{6537FF7B-60B4-6943-9BA9-F660A4CCF9FA}" dt="2022-01-18T13:14:24.478" v="512"/>
          <ac:spMkLst>
            <pc:docMk/>
            <pc:sldMk cId="1840078534" sldId="2553"/>
            <ac:spMk id="224" creationId="{89F3D936-F3C0-4DF2-A234-98FB416D7263}"/>
          </ac:spMkLst>
        </pc:spChg>
        <pc:spChg chg="mod">
          <ac:chgData name="Baruah, Meghna" userId="ec4d5429-f521-47c5-a69d-ddef68e95d51" providerId="ADAL" clId="{6537FF7B-60B4-6943-9BA9-F660A4CCF9FA}" dt="2022-01-18T13:14:24.478" v="512"/>
          <ac:spMkLst>
            <pc:docMk/>
            <pc:sldMk cId="1840078534" sldId="2553"/>
            <ac:spMk id="225" creationId="{81FBC18F-474B-495C-A78E-3A19DAA8BD2C}"/>
          </ac:spMkLst>
        </pc:spChg>
        <pc:spChg chg="mod">
          <ac:chgData name="Baruah, Meghna" userId="ec4d5429-f521-47c5-a69d-ddef68e95d51" providerId="ADAL" clId="{6537FF7B-60B4-6943-9BA9-F660A4CCF9FA}" dt="2022-01-18T13:14:24.478" v="512"/>
          <ac:spMkLst>
            <pc:docMk/>
            <pc:sldMk cId="1840078534" sldId="2553"/>
            <ac:spMk id="226" creationId="{DCD3B311-FC21-4CFF-80CF-89D639DAC258}"/>
          </ac:spMkLst>
        </pc:spChg>
        <pc:spChg chg="mod">
          <ac:chgData name="Baruah, Meghna" userId="ec4d5429-f521-47c5-a69d-ddef68e95d51" providerId="ADAL" clId="{6537FF7B-60B4-6943-9BA9-F660A4CCF9FA}" dt="2022-01-18T13:14:24.478" v="512"/>
          <ac:spMkLst>
            <pc:docMk/>
            <pc:sldMk cId="1840078534" sldId="2553"/>
            <ac:spMk id="227" creationId="{76647B8B-0C2A-4401-9DFB-8AE92A8A83D4}"/>
          </ac:spMkLst>
        </pc:spChg>
        <pc:spChg chg="mod">
          <ac:chgData name="Baruah, Meghna" userId="ec4d5429-f521-47c5-a69d-ddef68e95d51" providerId="ADAL" clId="{6537FF7B-60B4-6943-9BA9-F660A4CCF9FA}" dt="2022-01-18T13:14:24.478" v="512"/>
          <ac:spMkLst>
            <pc:docMk/>
            <pc:sldMk cId="1840078534" sldId="2553"/>
            <ac:spMk id="228" creationId="{937485A4-17DC-4929-8820-BB9D3199B670}"/>
          </ac:spMkLst>
        </pc:spChg>
        <pc:spChg chg="mod">
          <ac:chgData name="Baruah, Meghna" userId="ec4d5429-f521-47c5-a69d-ddef68e95d51" providerId="ADAL" clId="{6537FF7B-60B4-6943-9BA9-F660A4CCF9FA}" dt="2022-01-18T13:14:24.478" v="512"/>
          <ac:spMkLst>
            <pc:docMk/>
            <pc:sldMk cId="1840078534" sldId="2553"/>
            <ac:spMk id="229" creationId="{D3EBE9DE-8C53-4B2F-8D1F-30102E8FC1E1}"/>
          </ac:spMkLst>
        </pc:spChg>
        <pc:spChg chg="mod">
          <ac:chgData name="Baruah, Meghna" userId="ec4d5429-f521-47c5-a69d-ddef68e95d51" providerId="ADAL" clId="{6537FF7B-60B4-6943-9BA9-F660A4CCF9FA}" dt="2022-01-18T13:14:24.478" v="512"/>
          <ac:spMkLst>
            <pc:docMk/>
            <pc:sldMk cId="1840078534" sldId="2553"/>
            <ac:spMk id="230" creationId="{119A0E7D-228C-4FF6-8354-6204331ADB6D}"/>
          </ac:spMkLst>
        </pc:spChg>
        <pc:spChg chg="mod">
          <ac:chgData name="Baruah, Meghna" userId="ec4d5429-f521-47c5-a69d-ddef68e95d51" providerId="ADAL" clId="{6537FF7B-60B4-6943-9BA9-F660A4CCF9FA}" dt="2022-01-18T13:14:24.478" v="512"/>
          <ac:spMkLst>
            <pc:docMk/>
            <pc:sldMk cId="1840078534" sldId="2553"/>
            <ac:spMk id="231" creationId="{5F6B2857-4336-4B78-BA02-76B289AB8C5F}"/>
          </ac:spMkLst>
        </pc:spChg>
        <pc:spChg chg="mod">
          <ac:chgData name="Baruah, Meghna" userId="ec4d5429-f521-47c5-a69d-ddef68e95d51" providerId="ADAL" clId="{6537FF7B-60B4-6943-9BA9-F660A4CCF9FA}" dt="2022-01-18T13:14:24.478" v="512"/>
          <ac:spMkLst>
            <pc:docMk/>
            <pc:sldMk cId="1840078534" sldId="2553"/>
            <ac:spMk id="232" creationId="{EE64F032-341F-4B26-8196-99051D3AE571}"/>
          </ac:spMkLst>
        </pc:spChg>
        <pc:spChg chg="mod">
          <ac:chgData name="Baruah, Meghna" userId="ec4d5429-f521-47c5-a69d-ddef68e95d51" providerId="ADAL" clId="{6537FF7B-60B4-6943-9BA9-F660A4CCF9FA}" dt="2022-01-18T13:14:24.478" v="512"/>
          <ac:spMkLst>
            <pc:docMk/>
            <pc:sldMk cId="1840078534" sldId="2553"/>
            <ac:spMk id="233" creationId="{7D20C77C-6B1E-4A17-A507-EB14EA647911}"/>
          </ac:spMkLst>
        </pc:spChg>
        <pc:spChg chg="mod">
          <ac:chgData name="Baruah, Meghna" userId="ec4d5429-f521-47c5-a69d-ddef68e95d51" providerId="ADAL" clId="{6537FF7B-60B4-6943-9BA9-F660A4CCF9FA}" dt="2022-01-18T13:14:24.478" v="512"/>
          <ac:spMkLst>
            <pc:docMk/>
            <pc:sldMk cId="1840078534" sldId="2553"/>
            <ac:spMk id="234" creationId="{2988C3F3-10AF-4F12-AD20-B40B7C94B613}"/>
          </ac:spMkLst>
        </pc:spChg>
        <pc:spChg chg="mod">
          <ac:chgData name="Baruah, Meghna" userId="ec4d5429-f521-47c5-a69d-ddef68e95d51" providerId="ADAL" clId="{6537FF7B-60B4-6943-9BA9-F660A4CCF9FA}" dt="2022-01-18T13:14:24.478" v="512"/>
          <ac:spMkLst>
            <pc:docMk/>
            <pc:sldMk cId="1840078534" sldId="2553"/>
            <ac:spMk id="235" creationId="{217F5938-8D3C-4DDD-8987-069585272B27}"/>
          </ac:spMkLst>
        </pc:spChg>
        <pc:spChg chg="mod">
          <ac:chgData name="Baruah, Meghna" userId="ec4d5429-f521-47c5-a69d-ddef68e95d51" providerId="ADAL" clId="{6537FF7B-60B4-6943-9BA9-F660A4CCF9FA}" dt="2022-01-18T13:14:24.478" v="512"/>
          <ac:spMkLst>
            <pc:docMk/>
            <pc:sldMk cId="1840078534" sldId="2553"/>
            <ac:spMk id="236" creationId="{EAF8E01A-FB46-40C7-A8E4-BF80B1C4B1B0}"/>
          </ac:spMkLst>
        </pc:spChg>
        <pc:spChg chg="mod">
          <ac:chgData name="Baruah, Meghna" userId="ec4d5429-f521-47c5-a69d-ddef68e95d51" providerId="ADAL" clId="{6537FF7B-60B4-6943-9BA9-F660A4CCF9FA}" dt="2022-01-18T13:14:24.478" v="512"/>
          <ac:spMkLst>
            <pc:docMk/>
            <pc:sldMk cId="1840078534" sldId="2553"/>
            <ac:spMk id="237" creationId="{B6CDA0F0-EB21-4F57-9963-F7B6CBB85DBA}"/>
          </ac:spMkLst>
        </pc:spChg>
        <pc:spChg chg="mod">
          <ac:chgData name="Baruah, Meghna" userId="ec4d5429-f521-47c5-a69d-ddef68e95d51" providerId="ADAL" clId="{6537FF7B-60B4-6943-9BA9-F660A4CCF9FA}" dt="2022-01-18T13:14:24.478" v="512"/>
          <ac:spMkLst>
            <pc:docMk/>
            <pc:sldMk cId="1840078534" sldId="2553"/>
            <ac:spMk id="238" creationId="{EA6090CB-2BEF-4FC1-8425-9015558E9E80}"/>
          </ac:spMkLst>
        </pc:spChg>
        <pc:spChg chg="mod">
          <ac:chgData name="Baruah, Meghna" userId="ec4d5429-f521-47c5-a69d-ddef68e95d51" providerId="ADAL" clId="{6537FF7B-60B4-6943-9BA9-F660A4CCF9FA}" dt="2022-01-18T13:14:24.478" v="512"/>
          <ac:spMkLst>
            <pc:docMk/>
            <pc:sldMk cId="1840078534" sldId="2553"/>
            <ac:spMk id="239" creationId="{5FB61995-7065-4898-B55D-5AD9B06BB4BF}"/>
          </ac:spMkLst>
        </pc:spChg>
        <pc:spChg chg="mod">
          <ac:chgData name="Baruah, Meghna" userId="ec4d5429-f521-47c5-a69d-ddef68e95d51" providerId="ADAL" clId="{6537FF7B-60B4-6943-9BA9-F660A4CCF9FA}" dt="2022-01-18T13:14:43.820" v="528" actId="20577"/>
          <ac:spMkLst>
            <pc:docMk/>
            <pc:sldMk cId="1840078534" sldId="2553"/>
            <ac:spMk id="253" creationId="{02627584-1AFD-4B6C-86F8-D657590FC8CF}"/>
          </ac:spMkLst>
        </pc:spChg>
        <pc:grpChg chg="mod">
          <ac:chgData name="Baruah, Meghna" userId="ec4d5429-f521-47c5-a69d-ddef68e95d51" providerId="ADAL" clId="{6537FF7B-60B4-6943-9BA9-F660A4CCF9FA}" dt="2022-01-18T13:14:24.478" v="512"/>
          <ac:grpSpMkLst>
            <pc:docMk/>
            <pc:sldMk cId="1840078534" sldId="2553"/>
            <ac:grpSpMk id="203" creationId="{0EFFD124-FB91-49ED-8F84-876EDF2D29DE}"/>
          </ac:grpSpMkLst>
        </pc:grpChg>
        <pc:graphicFrameChg chg="modGraphic">
          <ac:chgData name="Baruah, Meghna" userId="ec4d5429-f521-47c5-a69d-ddef68e95d51" providerId="ADAL" clId="{6537FF7B-60B4-6943-9BA9-F660A4CCF9FA}" dt="2022-01-18T13:17:33.739" v="698" actId="20577"/>
          <ac:graphicFrameMkLst>
            <pc:docMk/>
            <pc:sldMk cId="1840078534" sldId="2553"/>
            <ac:graphicFrameMk id="27" creationId="{1D6C8B76-4277-4DBD-9D74-124E6BA7800C}"/>
          </ac:graphicFrameMkLst>
        </pc:graphicFrameChg>
        <pc:graphicFrameChg chg="modGraphic">
          <ac:chgData name="Baruah, Meghna" userId="ec4d5429-f521-47c5-a69d-ddef68e95d51" providerId="ADAL" clId="{6537FF7B-60B4-6943-9BA9-F660A4CCF9FA}" dt="2022-01-18T13:16:03.662" v="648" actId="20577"/>
          <ac:graphicFrameMkLst>
            <pc:docMk/>
            <pc:sldMk cId="1840078534" sldId="2553"/>
            <ac:graphicFrameMk id="254" creationId="{D1A92885-DA70-46D7-AB05-222417D042D3}"/>
          </ac:graphicFrameMkLst>
        </pc:graphicFrameChg>
        <pc:graphicFrameChg chg="modGraphic">
          <ac:chgData name="Baruah, Meghna" userId="ec4d5429-f521-47c5-a69d-ddef68e95d51" providerId="ADAL" clId="{6537FF7B-60B4-6943-9BA9-F660A4CCF9FA}" dt="2022-01-18T13:15:00.932" v="548" actId="20577"/>
          <ac:graphicFrameMkLst>
            <pc:docMk/>
            <pc:sldMk cId="1840078534" sldId="2553"/>
            <ac:graphicFrameMk id="256" creationId="{0D89DD6B-093D-4937-B2C0-6AEA6C3B1127}"/>
          </ac:graphicFrameMkLst>
        </pc:graphicFrameChg>
        <pc:picChg chg="mod">
          <ac:chgData name="Baruah, Meghna" userId="ec4d5429-f521-47c5-a69d-ddef68e95d51" providerId="ADAL" clId="{6537FF7B-60B4-6943-9BA9-F660A4CCF9FA}" dt="2022-01-18T13:14:24.478" v="512"/>
          <ac:picMkLst>
            <pc:docMk/>
            <pc:sldMk cId="1840078534" sldId="2553"/>
            <ac:picMk id="204" creationId="{32A503D3-996E-4F21-ACC0-7E22FA56495F}"/>
          </ac:picMkLst>
        </pc:picChg>
        <pc:picChg chg="mod">
          <ac:chgData name="Baruah, Meghna" userId="ec4d5429-f521-47c5-a69d-ddef68e95d51" providerId="ADAL" clId="{6537FF7B-60B4-6943-9BA9-F660A4CCF9FA}" dt="2022-01-18T13:14:24.478" v="512"/>
          <ac:picMkLst>
            <pc:docMk/>
            <pc:sldMk cId="1840078534" sldId="2553"/>
            <ac:picMk id="205" creationId="{9FD3C830-5D72-486C-AE7D-C5EADA27EE2E}"/>
          </ac:picMkLst>
        </pc:picChg>
      </pc:sldChg>
      <pc:sldChg chg="addSp delSp mod">
        <pc:chgData name="Baruah, Meghna" userId="ec4d5429-f521-47c5-a69d-ddef68e95d51" providerId="ADAL" clId="{6537FF7B-60B4-6943-9BA9-F660A4CCF9FA}" dt="2022-01-18T12:54:02.273" v="52" actId="478"/>
        <pc:sldMkLst>
          <pc:docMk/>
          <pc:sldMk cId="2982312614" sldId="2556"/>
        </pc:sldMkLst>
        <pc:spChg chg="add del">
          <ac:chgData name="Baruah, Meghna" userId="ec4d5429-f521-47c5-a69d-ddef68e95d51" providerId="ADAL" clId="{6537FF7B-60B4-6943-9BA9-F660A4CCF9FA}" dt="2022-01-18T12:54:02.273" v="52" actId="478"/>
          <ac:spMkLst>
            <pc:docMk/>
            <pc:sldMk cId="2982312614" sldId="2556"/>
            <ac:spMk id="7" creationId="{86FB0513-98D2-7D4E-A977-42A7A6F663D9}"/>
          </ac:spMkLst>
        </pc:spChg>
      </pc:sldChg>
      <pc:sldChg chg="modSp mod">
        <pc:chgData name="Baruah, Meghna" userId="ec4d5429-f521-47c5-a69d-ddef68e95d51" providerId="ADAL" clId="{6537FF7B-60B4-6943-9BA9-F660A4CCF9FA}" dt="2022-01-18T13:18:20.417" v="722" actId="20577"/>
        <pc:sldMkLst>
          <pc:docMk/>
          <pc:sldMk cId="166467652" sldId="3217"/>
        </pc:sldMkLst>
        <pc:spChg chg="mod">
          <ac:chgData name="Baruah, Meghna" userId="ec4d5429-f521-47c5-a69d-ddef68e95d51" providerId="ADAL" clId="{6537FF7B-60B4-6943-9BA9-F660A4CCF9FA}" dt="2022-01-18T13:16:57.840" v="664" actId="20577"/>
          <ac:spMkLst>
            <pc:docMk/>
            <pc:sldMk cId="166467652" sldId="3217"/>
            <ac:spMk id="7" creationId="{4C51769B-1A75-4312-B44F-AD99D27B944F}"/>
          </ac:spMkLst>
        </pc:spChg>
        <pc:spChg chg="mod">
          <ac:chgData name="Baruah, Meghna" userId="ec4d5429-f521-47c5-a69d-ddef68e95d51" providerId="ADAL" clId="{6537FF7B-60B4-6943-9BA9-F660A4CCF9FA}" dt="2022-01-18T13:17:44.727" v="706" actId="20577"/>
          <ac:spMkLst>
            <pc:docMk/>
            <pc:sldMk cId="166467652" sldId="3217"/>
            <ac:spMk id="8" creationId="{6E5D878F-44F1-45FD-9C5D-FA05DCBDF0CF}"/>
          </ac:spMkLst>
        </pc:spChg>
        <pc:spChg chg="mod">
          <ac:chgData name="Baruah, Meghna" userId="ec4d5429-f521-47c5-a69d-ddef68e95d51" providerId="ADAL" clId="{6537FF7B-60B4-6943-9BA9-F660A4CCF9FA}" dt="2022-01-18T13:17:09.863" v="672" actId="20577"/>
          <ac:spMkLst>
            <pc:docMk/>
            <pc:sldMk cId="166467652" sldId="3217"/>
            <ac:spMk id="9" creationId="{9DFF69AF-3FF5-4892-910C-A6AB04917686}"/>
          </ac:spMkLst>
        </pc:spChg>
        <pc:spChg chg="mod">
          <ac:chgData name="Baruah, Meghna" userId="ec4d5429-f521-47c5-a69d-ddef68e95d51" providerId="ADAL" clId="{6537FF7B-60B4-6943-9BA9-F660A4CCF9FA}" dt="2022-01-18T13:08:12.578" v="61" actId="20577"/>
          <ac:spMkLst>
            <pc:docMk/>
            <pc:sldMk cId="166467652" sldId="3217"/>
            <ac:spMk id="13" creationId="{D1AEF6A5-A15C-4947-AD35-807CFCA3E699}"/>
          </ac:spMkLst>
        </pc:spChg>
        <pc:spChg chg="mod">
          <ac:chgData name="Baruah, Meghna" userId="ec4d5429-f521-47c5-a69d-ddef68e95d51" providerId="ADAL" clId="{6537FF7B-60B4-6943-9BA9-F660A4CCF9FA}" dt="2022-01-18T13:18:20.417" v="722" actId="20577"/>
          <ac:spMkLst>
            <pc:docMk/>
            <pc:sldMk cId="166467652" sldId="3217"/>
            <ac:spMk id="26" creationId="{CA0451B7-610A-4DBE-ADD3-624003A3D608}"/>
          </ac:spMkLst>
        </pc:spChg>
      </pc:sldChg>
      <pc:sldChg chg="modSp mod">
        <pc:chgData name="Baruah, Meghna" userId="ec4d5429-f521-47c5-a69d-ddef68e95d51" providerId="ADAL" clId="{6537FF7B-60B4-6943-9BA9-F660A4CCF9FA}" dt="2022-01-18T13:07:58.476" v="60" actId="20577"/>
        <pc:sldMkLst>
          <pc:docMk/>
          <pc:sldMk cId="2439442107" sldId="3522"/>
        </pc:sldMkLst>
        <pc:spChg chg="mod">
          <ac:chgData name="Baruah, Meghna" userId="ec4d5429-f521-47c5-a69d-ddef68e95d51" providerId="ADAL" clId="{6537FF7B-60B4-6943-9BA9-F660A4CCF9FA}" dt="2022-01-18T13:07:58.476" v="60" actId="20577"/>
          <ac:spMkLst>
            <pc:docMk/>
            <pc:sldMk cId="2439442107" sldId="3522"/>
            <ac:spMk id="24" creationId="{41ADB014-9A72-1548-B3F8-88D087A5CE28}"/>
          </ac:spMkLst>
        </pc:spChg>
      </pc:sldChg>
      <pc:sldChg chg="modSp mod">
        <pc:chgData name="Baruah, Meghna" userId="ec4d5429-f521-47c5-a69d-ddef68e95d51" providerId="ADAL" clId="{6537FF7B-60B4-6943-9BA9-F660A4CCF9FA}" dt="2022-01-18T13:16:15.287" v="656" actId="20577"/>
        <pc:sldMkLst>
          <pc:docMk/>
          <pc:sldMk cId="1888328583" sldId="3523"/>
        </pc:sldMkLst>
        <pc:spChg chg="mod">
          <ac:chgData name="Baruah, Meghna" userId="ec4d5429-f521-47c5-a69d-ddef68e95d51" providerId="ADAL" clId="{6537FF7B-60B4-6943-9BA9-F660A4CCF9FA}" dt="2022-01-18T13:16:15.287" v="656" actId="20577"/>
          <ac:spMkLst>
            <pc:docMk/>
            <pc:sldMk cId="1888328583" sldId="3523"/>
            <ac:spMk id="3" creationId="{D076719E-B36E-40E3-97E8-E213435E2096}"/>
          </ac:spMkLst>
        </pc:spChg>
      </pc:sldChg>
      <pc:sldMasterChg chg="delSldLayout modSldLayout">
        <pc:chgData name="Baruah, Meghna" userId="ec4d5429-f521-47c5-a69d-ddef68e95d51" providerId="ADAL" clId="{6537FF7B-60B4-6943-9BA9-F660A4CCF9FA}" dt="2022-01-18T12:34:47.903" v="49" actId="20577"/>
        <pc:sldMasterMkLst>
          <pc:docMk/>
          <pc:sldMasterMk cId="1230176099" sldId="2147483922"/>
        </pc:sldMasterMkLst>
        <pc:sldLayoutChg chg="delSp del mod">
          <pc:chgData name="Baruah, Meghna" userId="ec4d5429-f521-47c5-a69d-ddef68e95d51" providerId="ADAL" clId="{6537FF7B-60B4-6943-9BA9-F660A4CCF9FA}" dt="2022-01-18T12:34:20.563" v="38" actId="2696"/>
          <pc:sldLayoutMkLst>
            <pc:docMk/>
            <pc:sldMasterMk cId="1230176099" sldId="2147483922"/>
            <pc:sldLayoutMk cId="333461621" sldId="2147484100"/>
          </pc:sldLayoutMkLst>
          <pc:picChg chg="del">
            <ac:chgData name="Baruah, Meghna" userId="ec4d5429-f521-47c5-a69d-ddef68e95d51" providerId="ADAL" clId="{6537FF7B-60B4-6943-9BA9-F660A4CCF9FA}" dt="2022-01-18T10:35:44.779" v="4" actId="478"/>
            <ac:picMkLst>
              <pc:docMk/>
              <pc:sldMasterMk cId="1230176099" sldId="2147483922"/>
              <pc:sldLayoutMk cId="333461621" sldId="2147484100"/>
              <ac:picMk id="31" creationId="{95F8258F-0F96-CC4A-977E-5AACD8DBA253}"/>
            </ac:picMkLst>
          </pc:picChg>
        </pc:sldLayoutChg>
        <pc:sldLayoutChg chg="delSp del mod">
          <pc:chgData name="Baruah, Meghna" userId="ec4d5429-f521-47c5-a69d-ddef68e95d51" providerId="ADAL" clId="{6537FF7B-60B4-6943-9BA9-F660A4CCF9FA}" dt="2022-01-18T12:34:20.574" v="39" actId="2696"/>
          <pc:sldLayoutMkLst>
            <pc:docMk/>
            <pc:sldMasterMk cId="1230176099" sldId="2147483922"/>
            <pc:sldLayoutMk cId="654958001" sldId="2147484101"/>
          </pc:sldLayoutMkLst>
          <pc:picChg chg="del">
            <ac:chgData name="Baruah, Meghna" userId="ec4d5429-f521-47c5-a69d-ddef68e95d51" providerId="ADAL" clId="{6537FF7B-60B4-6943-9BA9-F660A4CCF9FA}" dt="2022-01-18T10:35:40.469" v="2" actId="478"/>
            <ac:picMkLst>
              <pc:docMk/>
              <pc:sldMasterMk cId="1230176099" sldId="2147483922"/>
              <pc:sldLayoutMk cId="654958001" sldId="2147484101"/>
              <ac:picMk id="31" creationId="{81169F2E-05B4-904E-BFFD-D09434845C17}"/>
            </ac:picMkLst>
          </pc:picChg>
        </pc:sldLayoutChg>
        <pc:sldLayoutChg chg="delSp del mod">
          <pc:chgData name="Baruah, Meghna" userId="ec4d5429-f521-47c5-a69d-ddef68e95d51" providerId="ADAL" clId="{6537FF7B-60B4-6943-9BA9-F660A4CCF9FA}" dt="2022-01-18T12:34:20.576" v="40" actId="2696"/>
          <pc:sldLayoutMkLst>
            <pc:docMk/>
            <pc:sldMasterMk cId="1230176099" sldId="2147483922"/>
            <pc:sldLayoutMk cId="3702329910" sldId="2147484102"/>
          </pc:sldLayoutMkLst>
          <pc:picChg chg="del">
            <ac:chgData name="Baruah, Meghna" userId="ec4d5429-f521-47c5-a69d-ddef68e95d51" providerId="ADAL" clId="{6537FF7B-60B4-6943-9BA9-F660A4CCF9FA}" dt="2022-01-18T10:35:42.362" v="3" actId="478"/>
            <ac:picMkLst>
              <pc:docMk/>
              <pc:sldMasterMk cId="1230176099" sldId="2147483922"/>
              <pc:sldLayoutMk cId="3702329910" sldId="2147484102"/>
              <ac:picMk id="31" creationId="{95F8258F-0F96-CC4A-977E-5AACD8DBA253}"/>
            </ac:picMkLst>
          </pc:picChg>
        </pc:sldLayoutChg>
        <pc:sldLayoutChg chg="del">
          <pc:chgData name="Baruah, Meghna" userId="ec4d5429-f521-47c5-a69d-ddef68e95d51" providerId="ADAL" clId="{6537FF7B-60B4-6943-9BA9-F660A4CCF9FA}" dt="2022-01-18T12:33:55.658" v="27" actId="2696"/>
          <pc:sldLayoutMkLst>
            <pc:docMk/>
            <pc:sldMasterMk cId="1230176099" sldId="2147483922"/>
            <pc:sldLayoutMk cId="2661043949" sldId="2147484103"/>
          </pc:sldLayoutMkLst>
        </pc:sldLayoutChg>
        <pc:sldLayoutChg chg="del">
          <pc:chgData name="Baruah, Meghna" userId="ec4d5429-f521-47c5-a69d-ddef68e95d51" providerId="ADAL" clId="{6537FF7B-60B4-6943-9BA9-F660A4CCF9FA}" dt="2022-01-18T12:33:55.678" v="31" actId="2696"/>
          <pc:sldLayoutMkLst>
            <pc:docMk/>
            <pc:sldMasterMk cId="1230176099" sldId="2147483922"/>
            <pc:sldLayoutMk cId="2325836969" sldId="2147484104"/>
          </pc:sldLayoutMkLst>
        </pc:sldLayoutChg>
        <pc:sldLayoutChg chg="del">
          <pc:chgData name="Baruah, Meghna" userId="ec4d5429-f521-47c5-a69d-ddef68e95d51" providerId="ADAL" clId="{6537FF7B-60B4-6943-9BA9-F660A4CCF9FA}" dt="2022-01-18T12:33:55.674" v="28" actId="2696"/>
          <pc:sldLayoutMkLst>
            <pc:docMk/>
            <pc:sldMasterMk cId="1230176099" sldId="2147483922"/>
            <pc:sldLayoutMk cId="3530264158" sldId="2147484105"/>
          </pc:sldLayoutMkLst>
        </pc:sldLayoutChg>
        <pc:sldLayoutChg chg="del">
          <pc:chgData name="Baruah, Meghna" userId="ec4d5429-f521-47c5-a69d-ddef68e95d51" providerId="ADAL" clId="{6537FF7B-60B4-6943-9BA9-F660A4CCF9FA}" dt="2022-01-18T12:33:55.701" v="34" actId="2696"/>
          <pc:sldLayoutMkLst>
            <pc:docMk/>
            <pc:sldMasterMk cId="1230176099" sldId="2147483922"/>
            <pc:sldLayoutMk cId="1475008804" sldId="2147484106"/>
          </pc:sldLayoutMkLst>
        </pc:sldLayoutChg>
        <pc:sldLayoutChg chg="del">
          <pc:chgData name="Baruah, Meghna" userId="ec4d5429-f521-47c5-a69d-ddef68e95d51" providerId="ADAL" clId="{6537FF7B-60B4-6943-9BA9-F660A4CCF9FA}" dt="2022-01-18T12:33:55.699" v="33" actId="2696"/>
          <pc:sldLayoutMkLst>
            <pc:docMk/>
            <pc:sldMasterMk cId="1230176099" sldId="2147483922"/>
            <pc:sldLayoutMk cId="17608310" sldId="2147484107"/>
          </pc:sldLayoutMkLst>
        </pc:sldLayoutChg>
        <pc:sldLayoutChg chg="del">
          <pc:chgData name="Baruah, Meghna" userId="ec4d5429-f521-47c5-a69d-ddef68e95d51" providerId="ADAL" clId="{6537FF7B-60B4-6943-9BA9-F660A4CCF9FA}" dt="2022-01-18T12:33:55.709" v="35" actId="2696"/>
          <pc:sldLayoutMkLst>
            <pc:docMk/>
            <pc:sldMasterMk cId="1230176099" sldId="2147483922"/>
            <pc:sldLayoutMk cId="641342061" sldId="2147484108"/>
          </pc:sldLayoutMkLst>
        </pc:sldLayoutChg>
        <pc:sldLayoutChg chg="del">
          <pc:chgData name="Baruah, Meghna" userId="ec4d5429-f521-47c5-a69d-ddef68e95d51" providerId="ADAL" clId="{6537FF7B-60B4-6943-9BA9-F660A4CCF9FA}" dt="2022-01-18T12:33:55.718" v="37" actId="2696"/>
          <pc:sldLayoutMkLst>
            <pc:docMk/>
            <pc:sldMasterMk cId="1230176099" sldId="2147483922"/>
            <pc:sldLayoutMk cId="889436214" sldId="2147484109"/>
          </pc:sldLayoutMkLst>
        </pc:sldLayoutChg>
        <pc:sldLayoutChg chg="del">
          <pc:chgData name="Baruah, Meghna" userId="ec4d5429-f521-47c5-a69d-ddef68e95d51" providerId="ADAL" clId="{6537FF7B-60B4-6943-9BA9-F660A4CCF9FA}" dt="2022-01-18T12:33:55.677" v="30" actId="2696"/>
          <pc:sldLayoutMkLst>
            <pc:docMk/>
            <pc:sldMasterMk cId="1230176099" sldId="2147483922"/>
            <pc:sldLayoutMk cId="168590676" sldId="2147484110"/>
          </pc:sldLayoutMkLst>
        </pc:sldLayoutChg>
        <pc:sldLayoutChg chg="del">
          <pc:chgData name="Baruah, Meghna" userId="ec4d5429-f521-47c5-a69d-ddef68e95d51" providerId="ADAL" clId="{6537FF7B-60B4-6943-9BA9-F660A4CCF9FA}" dt="2022-01-18T12:33:55.675" v="29" actId="2696"/>
          <pc:sldLayoutMkLst>
            <pc:docMk/>
            <pc:sldMasterMk cId="1230176099" sldId="2147483922"/>
            <pc:sldLayoutMk cId="845371484" sldId="2147484111"/>
          </pc:sldLayoutMkLst>
        </pc:sldLayoutChg>
        <pc:sldLayoutChg chg="del">
          <pc:chgData name="Baruah, Meghna" userId="ec4d5429-f521-47c5-a69d-ddef68e95d51" providerId="ADAL" clId="{6537FF7B-60B4-6943-9BA9-F660A4CCF9FA}" dt="2022-01-18T12:33:55.716" v="36" actId="2696"/>
          <pc:sldLayoutMkLst>
            <pc:docMk/>
            <pc:sldMasterMk cId="1230176099" sldId="2147483922"/>
            <pc:sldLayoutMk cId="1077261098" sldId="2147484112"/>
          </pc:sldLayoutMkLst>
        </pc:sldLayoutChg>
        <pc:sldLayoutChg chg="del">
          <pc:chgData name="Baruah, Meghna" userId="ec4d5429-f521-47c5-a69d-ddef68e95d51" providerId="ADAL" clId="{6537FF7B-60B4-6943-9BA9-F660A4CCF9FA}" dt="2022-01-18T12:33:55.698" v="32" actId="2696"/>
          <pc:sldLayoutMkLst>
            <pc:docMk/>
            <pc:sldMasterMk cId="1230176099" sldId="2147483922"/>
            <pc:sldLayoutMk cId="1127612126" sldId="2147484113"/>
          </pc:sldLayoutMkLst>
        </pc:sldLayoutChg>
        <pc:sldLayoutChg chg="modSp mod">
          <pc:chgData name="Baruah, Meghna" userId="ec4d5429-f521-47c5-a69d-ddef68e95d51" providerId="ADAL" clId="{6537FF7B-60B4-6943-9BA9-F660A4CCF9FA}" dt="2022-01-18T12:34:37.834" v="43" actId="20577"/>
          <pc:sldLayoutMkLst>
            <pc:docMk/>
            <pc:sldMasterMk cId="1230176099" sldId="2147483922"/>
            <pc:sldLayoutMk cId="994472587" sldId="2147484114"/>
          </pc:sldLayoutMkLst>
          <pc:spChg chg="mod">
            <ac:chgData name="Baruah, Meghna" userId="ec4d5429-f521-47c5-a69d-ddef68e95d51" providerId="ADAL" clId="{6537FF7B-60B4-6943-9BA9-F660A4CCF9FA}" dt="2022-01-18T12:34:37.834" v="43" actId="20577"/>
            <ac:spMkLst>
              <pc:docMk/>
              <pc:sldMasterMk cId="1230176099" sldId="2147483922"/>
              <pc:sldLayoutMk cId="994472587" sldId="2147484114"/>
              <ac:spMk id="20" creationId="{19F3651F-361A-0248-A8F9-8872E253ECF4}"/>
            </ac:spMkLst>
          </pc:spChg>
        </pc:sldLayoutChg>
        <pc:sldLayoutChg chg="modSp mod">
          <pc:chgData name="Baruah, Meghna" userId="ec4d5429-f521-47c5-a69d-ddef68e95d51" providerId="ADAL" clId="{6537FF7B-60B4-6943-9BA9-F660A4CCF9FA}" dt="2022-01-18T12:34:43.218" v="46" actId="20577"/>
          <pc:sldLayoutMkLst>
            <pc:docMk/>
            <pc:sldMasterMk cId="1230176099" sldId="2147483922"/>
            <pc:sldLayoutMk cId="59862085" sldId="2147484115"/>
          </pc:sldLayoutMkLst>
          <pc:spChg chg="mod">
            <ac:chgData name="Baruah, Meghna" userId="ec4d5429-f521-47c5-a69d-ddef68e95d51" providerId="ADAL" clId="{6537FF7B-60B4-6943-9BA9-F660A4CCF9FA}" dt="2022-01-18T12:34:43.218" v="46" actId="20577"/>
            <ac:spMkLst>
              <pc:docMk/>
              <pc:sldMasterMk cId="1230176099" sldId="2147483922"/>
              <pc:sldLayoutMk cId="59862085" sldId="2147484115"/>
              <ac:spMk id="16" creationId="{04730DC9-14EA-A845-8FE5-CE091783B244}"/>
            </ac:spMkLst>
          </pc:spChg>
        </pc:sldLayoutChg>
        <pc:sldLayoutChg chg="modSp mod">
          <pc:chgData name="Baruah, Meghna" userId="ec4d5429-f521-47c5-a69d-ddef68e95d51" providerId="ADAL" clId="{6537FF7B-60B4-6943-9BA9-F660A4CCF9FA}" dt="2022-01-18T12:34:47.903" v="49" actId="20577"/>
          <pc:sldLayoutMkLst>
            <pc:docMk/>
            <pc:sldMasterMk cId="1230176099" sldId="2147483922"/>
            <pc:sldLayoutMk cId="3938219496" sldId="2147484116"/>
          </pc:sldLayoutMkLst>
          <pc:spChg chg="mod">
            <ac:chgData name="Baruah, Meghna" userId="ec4d5429-f521-47c5-a69d-ddef68e95d51" providerId="ADAL" clId="{6537FF7B-60B4-6943-9BA9-F660A4CCF9FA}" dt="2022-01-18T12:34:47.903" v="49" actId="20577"/>
            <ac:spMkLst>
              <pc:docMk/>
              <pc:sldMasterMk cId="1230176099" sldId="2147483922"/>
              <pc:sldLayoutMk cId="3938219496" sldId="2147484116"/>
              <ac:spMk id="16" creationId="{95DBD12B-90E1-AB4D-8F23-982AB35C03F7}"/>
            </ac:spMkLst>
          </pc:spChg>
        </pc:sldLayoutChg>
      </pc:sldMasterChg>
    </pc:docChg>
  </pc:docChgLst>
  <pc:docChgLst>
    <pc:chgData name="Baruah, Meghna" userId="ec4d5429-f521-47c5-a69d-ddef68e95d51" providerId="ADAL" clId="{615F2601-0FA5-C843-B20F-A9E5B740D38B}"/>
    <pc:docChg chg="undo custSel modSld modMainMaster">
      <pc:chgData name="Baruah, Meghna" userId="ec4d5429-f521-47c5-a69d-ddef68e95d51" providerId="ADAL" clId="{615F2601-0FA5-C843-B20F-A9E5B740D38B}" dt="2022-02-11T12:15:16.493" v="41" actId="478"/>
      <pc:docMkLst>
        <pc:docMk/>
      </pc:docMkLst>
      <pc:sldChg chg="modSp mod">
        <pc:chgData name="Baruah, Meghna" userId="ec4d5429-f521-47c5-a69d-ddef68e95d51" providerId="ADAL" clId="{615F2601-0FA5-C843-B20F-A9E5B740D38B}" dt="2022-02-11T09:58:47.804" v="12" actId="13926"/>
        <pc:sldMkLst>
          <pc:docMk/>
          <pc:sldMk cId="1141233094" sldId="2524"/>
        </pc:sldMkLst>
        <pc:spChg chg="mod">
          <ac:chgData name="Baruah, Meghna" userId="ec4d5429-f521-47c5-a69d-ddef68e95d51" providerId="ADAL" clId="{615F2601-0FA5-C843-B20F-A9E5B740D38B}" dt="2022-02-11T09:58:47.804" v="12" actId="13926"/>
          <ac:spMkLst>
            <pc:docMk/>
            <pc:sldMk cId="1141233094" sldId="2524"/>
            <ac:spMk id="24" creationId="{384DEE53-8498-40A7-8A83-0D02DAEC5E33}"/>
          </ac:spMkLst>
        </pc:spChg>
      </pc:sldChg>
      <pc:sldChg chg="addSp delSp modSp mod">
        <pc:chgData name="Baruah, Meghna" userId="ec4d5429-f521-47c5-a69d-ddef68e95d51" providerId="ADAL" clId="{615F2601-0FA5-C843-B20F-A9E5B740D38B}" dt="2022-02-11T12:15:16.493" v="41" actId="478"/>
        <pc:sldMkLst>
          <pc:docMk/>
          <pc:sldMk cId="2982312614" sldId="2556"/>
        </pc:sldMkLst>
        <pc:spChg chg="add del mod">
          <ac:chgData name="Baruah, Meghna" userId="ec4d5429-f521-47c5-a69d-ddef68e95d51" providerId="ADAL" clId="{615F2601-0FA5-C843-B20F-A9E5B740D38B}" dt="2022-02-11T12:15:02.560" v="39" actId="478"/>
          <ac:spMkLst>
            <pc:docMk/>
            <pc:sldMk cId="2982312614" sldId="2556"/>
            <ac:spMk id="2" creationId="{333D8ED0-5F9F-D441-A669-3AA358B07518}"/>
          </ac:spMkLst>
        </pc:spChg>
        <pc:spChg chg="add del">
          <ac:chgData name="Baruah, Meghna" userId="ec4d5429-f521-47c5-a69d-ddef68e95d51" providerId="ADAL" clId="{615F2601-0FA5-C843-B20F-A9E5B740D38B}" dt="2022-02-11T12:15:16.493" v="41" actId="478"/>
          <ac:spMkLst>
            <pc:docMk/>
            <pc:sldMk cId="2982312614" sldId="2556"/>
            <ac:spMk id="7" creationId="{86FB0513-98D2-7D4E-A977-42A7A6F663D9}"/>
          </ac:spMkLst>
        </pc:spChg>
      </pc:sldChg>
      <pc:sldChg chg="mod modClrScheme chgLayout">
        <pc:chgData name="Baruah, Meghna" userId="ec4d5429-f521-47c5-a69d-ddef68e95d51" providerId="ADAL" clId="{615F2601-0FA5-C843-B20F-A9E5B740D38B}" dt="2022-02-11T11:04:56.926" v="26" actId="700"/>
        <pc:sldMkLst>
          <pc:docMk/>
          <pc:sldMk cId="201228547" sldId="2559"/>
        </pc:sldMkLst>
      </pc:sldChg>
      <pc:sldChg chg="addSp delSp modSp mod">
        <pc:chgData name="Baruah, Meghna" userId="ec4d5429-f521-47c5-a69d-ddef68e95d51" providerId="ADAL" clId="{615F2601-0FA5-C843-B20F-A9E5B740D38B}" dt="2022-02-11T11:26:34.411" v="37" actId="478"/>
        <pc:sldMkLst>
          <pc:docMk/>
          <pc:sldMk cId="166467652" sldId="3217"/>
        </pc:sldMkLst>
        <pc:spChg chg="add del mod">
          <ac:chgData name="Baruah, Meghna" userId="ec4d5429-f521-47c5-a69d-ddef68e95d51" providerId="ADAL" clId="{615F2601-0FA5-C843-B20F-A9E5B740D38B}" dt="2022-02-11T11:26:26.711" v="35" actId="478"/>
          <ac:spMkLst>
            <pc:docMk/>
            <pc:sldMk cId="166467652" sldId="3217"/>
            <ac:spMk id="3" creationId="{084F940E-320F-6E40-8B9C-94BE396AABDD}"/>
          </ac:spMkLst>
        </pc:spChg>
        <pc:spChg chg="add del mod">
          <ac:chgData name="Baruah, Meghna" userId="ec4d5429-f521-47c5-a69d-ddef68e95d51" providerId="ADAL" clId="{615F2601-0FA5-C843-B20F-A9E5B740D38B}" dt="2022-02-11T11:26:34.411" v="37" actId="478"/>
          <ac:spMkLst>
            <pc:docMk/>
            <pc:sldMk cId="166467652" sldId="3217"/>
            <ac:spMk id="4" creationId="{4F3BCDB8-13F7-F14E-B70A-5FD1AA5C3123}"/>
          </ac:spMkLst>
        </pc:spChg>
      </pc:sldChg>
      <pc:sldMasterChg chg="addSldLayout modSldLayout sldLayoutOrd">
        <pc:chgData name="Baruah, Meghna" userId="ec4d5429-f521-47c5-a69d-ddef68e95d51" providerId="ADAL" clId="{615F2601-0FA5-C843-B20F-A9E5B740D38B}" dt="2022-02-11T10:10:37.793" v="22" actId="6014"/>
        <pc:sldMasterMkLst>
          <pc:docMk/>
          <pc:sldMasterMk cId="1230176099" sldId="2147483922"/>
        </pc:sldMasterMkLst>
        <pc:sldLayoutChg chg="modSp add mod ord modTransition">
          <pc:chgData name="Baruah, Meghna" userId="ec4d5429-f521-47c5-a69d-ddef68e95d51" providerId="ADAL" clId="{615F2601-0FA5-C843-B20F-A9E5B740D38B}" dt="2022-02-11T10:10:37.793" v="22" actId="6014"/>
          <pc:sldLayoutMkLst>
            <pc:docMk/>
            <pc:sldMasterMk cId="1230176099" sldId="2147483922"/>
            <pc:sldLayoutMk cId="1498830535" sldId="2147484117"/>
          </pc:sldLayoutMkLst>
          <pc:spChg chg="mod">
            <ac:chgData name="Baruah, Meghna" userId="ec4d5429-f521-47c5-a69d-ddef68e95d51" providerId="ADAL" clId="{615F2601-0FA5-C843-B20F-A9E5B740D38B}" dt="2022-02-11T10:07:53.848" v="20" actId="20577"/>
            <ac:spMkLst>
              <pc:docMk/>
              <pc:sldMasterMk cId="1230176099" sldId="2147483922"/>
              <pc:sldLayoutMk cId="1498830535" sldId="2147484117"/>
              <ac:spMk id="16" creationId="{95DBD12B-90E1-AB4D-8F23-982AB35C03F7}"/>
            </ac:spMkLst>
          </pc:spChg>
          <pc:spChg chg="mod">
            <ac:chgData name="Baruah, Meghna" userId="ec4d5429-f521-47c5-a69d-ddef68e95d51" providerId="ADAL" clId="{615F2601-0FA5-C843-B20F-A9E5B740D38B}" dt="2022-02-11T10:07:50.250" v="18"/>
            <ac:spMkLst>
              <pc:docMk/>
              <pc:sldMasterMk cId="1230176099" sldId="2147483922"/>
              <pc:sldLayoutMk cId="1498830535" sldId="2147484117"/>
              <ac:spMk id="22" creationId="{B88E3FFE-F844-8044-9F3A-C96B9512B78D}"/>
            </ac:spMkLst>
          </pc:spChg>
          <pc:spChg chg="mod">
            <ac:chgData name="Baruah, Meghna" userId="ec4d5429-f521-47c5-a69d-ddef68e95d51" providerId="ADAL" clId="{615F2601-0FA5-C843-B20F-A9E5B740D38B}" dt="2022-02-11T10:07:50.250" v="18"/>
            <ac:spMkLst>
              <pc:docMk/>
              <pc:sldMasterMk cId="1230176099" sldId="2147483922"/>
              <pc:sldLayoutMk cId="1498830535" sldId="2147484117"/>
              <ac:spMk id="25" creationId="{FB4170F3-DC2B-9B4E-A84D-4FC9137897B9}"/>
            </ac:spMkLst>
          </pc:spChg>
          <pc:grpChg chg="mod">
            <ac:chgData name="Baruah, Meghna" userId="ec4d5429-f521-47c5-a69d-ddef68e95d51" providerId="ADAL" clId="{615F2601-0FA5-C843-B20F-A9E5B740D38B}" dt="2022-02-11T10:07:50.250" v="18"/>
            <ac:grpSpMkLst>
              <pc:docMk/>
              <pc:sldMasterMk cId="1230176099" sldId="2147483922"/>
              <pc:sldLayoutMk cId="1498830535" sldId="2147484117"/>
              <ac:grpSpMk id="21" creationId="{370F68FB-F904-9644-9348-8FE512941F29}"/>
            </ac:grpSpMkLst>
          </pc:grpChg>
          <pc:picChg chg="mod modCrop">
            <ac:chgData name="Baruah, Meghna" userId="ec4d5429-f521-47c5-a69d-ddef68e95d51" providerId="ADAL" clId="{615F2601-0FA5-C843-B20F-A9E5B740D38B}" dt="2022-02-11T10:06:52.487" v="16" actId="18131"/>
            <ac:picMkLst>
              <pc:docMk/>
              <pc:sldMasterMk cId="1230176099" sldId="2147483922"/>
              <pc:sldLayoutMk cId="1498830535" sldId="2147484117"/>
              <ac:picMk id="13" creationId="{8F905198-E29B-1C4A-881B-BBB5D55AA5DA}"/>
            </ac:picMkLst>
          </pc:picChg>
          <pc:cxnChg chg="mod">
            <ac:chgData name="Baruah, Meghna" userId="ec4d5429-f521-47c5-a69d-ddef68e95d51" providerId="ADAL" clId="{615F2601-0FA5-C843-B20F-A9E5B740D38B}" dt="2022-02-11T10:07:50.250" v="18"/>
            <ac:cxnSpMkLst>
              <pc:docMk/>
              <pc:sldMasterMk cId="1230176099" sldId="2147483922"/>
              <pc:sldLayoutMk cId="1498830535" sldId="2147484117"/>
              <ac:cxnSpMk id="23" creationId="{A53AD5DA-6731-0F4C-9F4E-2E6B7863C9E5}"/>
            </ac:cxnSpMkLst>
          </pc:cxnChg>
        </pc:sldLayoutChg>
      </pc:sldMasterChg>
    </pc:docChg>
  </pc:docChgLst>
  <pc:docChgLst>
    <pc:chgData name="Sinha, Amitesh" userId="5a8674ff-2b78-4fcd-9f9b-3fa421194f66" providerId="ADAL" clId="{51A124E1-0F21-AB45-BB37-F8F797FFBACC}"/>
    <pc:docChg chg="custSel modSld">
      <pc:chgData name="Sinha, Amitesh" userId="5a8674ff-2b78-4fcd-9f9b-3fa421194f66" providerId="ADAL" clId="{51A124E1-0F21-AB45-BB37-F8F797FFBACC}" dt="2022-01-04T08:37:33.052" v="0" actId="478"/>
      <pc:docMkLst>
        <pc:docMk/>
      </pc:docMkLst>
      <pc:sldChg chg="delSp mod">
        <pc:chgData name="Sinha, Amitesh" userId="5a8674ff-2b78-4fcd-9f9b-3fa421194f66" providerId="ADAL" clId="{51A124E1-0F21-AB45-BB37-F8F797FFBACC}" dt="2022-01-04T08:37:33.052" v="0" actId="478"/>
        <pc:sldMkLst>
          <pc:docMk/>
          <pc:sldMk cId="0" sldId="2511"/>
        </pc:sldMkLst>
        <pc:spChg chg="del">
          <ac:chgData name="Sinha, Amitesh" userId="5a8674ff-2b78-4fcd-9f9b-3fa421194f66" providerId="ADAL" clId="{51A124E1-0F21-AB45-BB37-F8F797FFBACC}" dt="2022-01-04T08:37:33.052" v="0" actId="478"/>
          <ac:spMkLst>
            <pc:docMk/>
            <pc:sldMk cId="0" sldId="2511"/>
            <ac:spMk id="16" creationId="{55E42880-E86E-4B23-8ECA-4A5C2D657674}"/>
          </ac:spMkLst>
        </pc:spChg>
      </pc:sldChg>
    </pc:docChg>
  </pc:docChgLst>
  <pc:docChgLst>
    <pc:chgData name="Sehgal, Arpit" userId="a4568d40-fe69-4d1f-99f0-9cac76f03e56" providerId="ADAL" clId="{97F8EC44-9C8B-924B-9A27-F674D53D09BB}"/>
    <pc:docChg chg="">
      <pc:chgData name="Sehgal, Arpit" userId="a4568d40-fe69-4d1f-99f0-9cac76f03e56" providerId="ADAL" clId="{97F8EC44-9C8B-924B-9A27-F674D53D09BB}" dt="2022-01-13T13:34:51.370" v="2" actId="6014"/>
      <pc:docMkLst>
        <pc:docMk/>
      </pc:docMkLst>
      <pc:sldMasterChg chg="modSldLayout">
        <pc:chgData name="Sehgal, Arpit" userId="a4568d40-fe69-4d1f-99f0-9cac76f03e56" providerId="ADAL" clId="{97F8EC44-9C8B-924B-9A27-F674D53D09BB}" dt="2022-01-13T13:34:51.370" v="2" actId="6014"/>
        <pc:sldMasterMkLst>
          <pc:docMk/>
          <pc:sldMasterMk cId="1230176099" sldId="2147483922"/>
        </pc:sldMasterMkLst>
        <pc:sldLayoutChg chg="mod">
          <pc:chgData name="Sehgal, Arpit" userId="a4568d40-fe69-4d1f-99f0-9cac76f03e56" providerId="ADAL" clId="{97F8EC44-9C8B-924B-9A27-F674D53D09BB}" dt="2022-01-13T13:33:22.726" v="1" actId="6014"/>
          <pc:sldLayoutMkLst>
            <pc:docMk/>
            <pc:sldMasterMk cId="1230176099" sldId="2147483922"/>
            <pc:sldLayoutMk cId="333461621" sldId="2147484100"/>
          </pc:sldLayoutMkLst>
        </pc:sldLayoutChg>
        <pc:sldLayoutChg chg="mod">
          <pc:chgData name="Sehgal, Arpit" userId="a4568d40-fe69-4d1f-99f0-9cac76f03e56" providerId="ADAL" clId="{97F8EC44-9C8B-924B-9A27-F674D53D09BB}" dt="2022-01-13T13:34:51.370" v="2" actId="6014"/>
          <pc:sldLayoutMkLst>
            <pc:docMk/>
            <pc:sldMasterMk cId="1230176099" sldId="2147483922"/>
            <pc:sldLayoutMk cId="654958001" sldId="2147484101"/>
          </pc:sldLayoutMkLst>
        </pc:sldLayoutChg>
        <pc:sldLayoutChg chg="mod">
          <pc:chgData name="Sehgal, Arpit" userId="a4568d40-fe69-4d1f-99f0-9cac76f03e56" providerId="ADAL" clId="{97F8EC44-9C8B-924B-9A27-F674D53D09BB}" dt="2022-01-13T13:32:31.266" v="0" actId="6014"/>
          <pc:sldLayoutMkLst>
            <pc:docMk/>
            <pc:sldMasterMk cId="1230176099" sldId="2147483922"/>
            <pc:sldLayoutMk cId="3702329910" sldId="2147484102"/>
          </pc:sldLayoutMkLst>
        </pc:sldLayoutChg>
      </pc:sldMasterChg>
    </pc:docChg>
  </pc:docChgLst>
  <pc:docChgLst>
    <pc:chgData name="Baruah, Meghna" userId="ec4d5429-f521-47c5-a69d-ddef68e95d51" providerId="ADAL" clId="{9B831B67-B79D-854F-B97E-C7002C9FD77E}"/>
    <pc:docChg chg="undo custSel modSld">
      <pc:chgData name="Baruah, Meghna" userId="ec4d5429-f521-47c5-a69d-ddef68e95d51" providerId="ADAL" clId="{9B831B67-B79D-854F-B97E-C7002C9FD77E}" dt="2021-12-31T12:37:55.366" v="72" actId="20577"/>
      <pc:docMkLst>
        <pc:docMk/>
      </pc:docMkLst>
      <pc:sldChg chg="modSp mod">
        <pc:chgData name="Baruah, Meghna" userId="ec4d5429-f521-47c5-a69d-ddef68e95d51" providerId="ADAL" clId="{9B831B67-B79D-854F-B97E-C7002C9FD77E}" dt="2021-12-31T12:37:55.366" v="72" actId="20577"/>
        <pc:sldMkLst>
          <pc:docMk/>
          <pc:sldMk cId="1648547252" sldId="2549"/>
        </pc:sldMkLst>
        <pc:graphicFrameChg chg="mod modGraphic">
          <ac:chgData name="Baruah, Meghna" userId="ec4d5429-f521-47c5-a69d-ddef68e95d51" providerId="ADAL" clId="{9B831B67-B79D-854F-B97E-C7002C9FD77E}" dt="2021-12-31T12:37:55.366" v="72" actId="20577"/>
          <ac:graphicFrameMkLst>
            <pc:docMk/>
            <pc:sldMk cId="1648547252" sldId="2549"/>
            <ac:graphicFrameMk id="19" creationId="{D3DDC5BE-81B4-42A1-90A2-8677A0E56CCE}"/>
          </ac:graphicFrameMkLst>
        </pc:graphicFrameChg>
        <pc:graphicFrameChg chg="mod modGraphic">
          <ac:chgData name="Baruah, Meghna" userId="ec4d5429-f521-47c5-a69d-ddef68e95d51" providerId="ADAL" clId="{9B831B67-B79D-854F-B97E-C7002C9FD77E}" dt="2021-12-29T10:39:28.746" v="69" actId="14100"/>
          <ac:graphicFrameMkLst>
            <pc:docMk/>
            <pc:sldMk cId="1648547252" sldId="2549"/>
            <ac:graphicFrameMk id="31" creationId="{EC32183C-2BC8-4FAE-8F0E-826939351989}"/>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10243" name="Rectangle 3"/>
          <p:cNvSpPr>
            <a:spLocks noGrp="1" noChangeArrowheads="1"/>
          </p:cNvSpPr>
          <p:nvPr>
            <p:ph type="dt" sz="quarter" idx="1"/>
          </p:nvPr>
        </p:nvSpPr>
        <p:spPr bwMode="auto">
          <a:xfrm>
            <a:off x="3973513" y="0"/>
            <a:ext cx="3036887"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50407464-4171-4BF8-BD2C-8BDAC8194E7E}" type="datetime1">
              <a:rPr lang="en-US" altLang="en-US"/>
              <a:pPr>
                <a:defRPr/>
              </a:pPr>
              <a:t>3/30/22</a:t>
            </a:fld>
            <a:endParaRPr lang="en-US" altLang="en-US"/>
          </a:p>
        </p:txBody>
      </p:sp>
      <p:sp>
        <p:nvSpPr>
          <p:cNvPr id="10244" name="Rectangle 4"/>
          <p:cNvSpPr>
            <a:spLocks noGrp="1" noChangeArrowheads="1"/>
          </p:cNvSpPr>
          <p:nvPr>
            <p:ph type="ftr" sz="quarter" idx="2"/>
          </p:nvPr>
        </p:nvSpPr>
        <p:spPr bwMode="auto">
          <a:xfrm>
            <a:off x="0" y="8831263"/>
            <a:ext cx="3036888"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10245" name="Rectangle 5"/>
          <p:cNvSpPr>
            <a:spLocks noGrp="1" noChangeArrowheads="1"/>
          </p:cNvSpPr>
          <p:nvPr>
            <p:ph type="sldNum" sz="quarter" idx="3"/>
          </p:nvPr>
        </p:nvSpPr>
        <p:spPr bwMode="auto">
          <a:xfrm>
            <a:off x="3973513" y="8831263"/>
            <a:ext cx="3036887"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1C4CF220-916D-4E8E-BB9E-26A92054228B}" type="slidenum">
              <a:rPr lang="en-US" altLang="en-US"/>
              <a:pPr>
                <a:defRPr/>
              </a:pPr>
              <a:t>‹#›</a:t>
            </a:fld>
            <a:endParaRPr lang="en-US" altLang="en-US"/>
          </a:p>
        </p:txBody>
      </p:sp>
    </p:spTree>
    <p:extLst>
      <p:ext uri="{BB962C8B-B14F-4D97-AF65-F5344CB8AC3E}">
        <p14:creationId xmlns:p14="http://schemas.microsoft.com/office/powerpoint/2010/main" val="21616484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4099" name="Rectangle 3"/>
          <p:cNvSpPr>
            <a:spLocks noGrp="1" noChangeArrowheads="1"/>
          </p:cNvSpPr>
          <p:nvPr>
            <p:ph type="dt" idx="1"/>
          </p:nvPr>
        </p:nvSpPr>
        <p:spPr bwMode="auto">
          <a:xfrm>
            <a:off x="3973513" y="0"/>
            <a:ext cx="3036887"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1E169CEB-7241-42C5-BD57-015FB497C1C3}" type="datetime1">
              <a:rPr lang="en-US" altLang="en-US"/>
              <a:pPr>
                <a:defRPr/>
              </a:pPr>
              <a:t>3/30/22</a:t>
            </a:fld>
            <a:endParaRPr lang="en-US" altLang="en-US"/>
          </a:p>
        </p:txBody>
      </p:sp>
      <p:sp>
        <p:nvSpPr>
          <p:cNvPr id="45060" name="Rectangle 4"/>
          <p:cNvSpPr>
            <a:spLocks noGrp="1" noRot="1" noChangeAspect="1" noChangeArrowheads="1" noTextEdit="1"/>
          </p:cNvSpPr>
          <p:nvPr>
            <p:ph type="sldImg" idx="2"/>
          </p:nvPr>
        </p:nvSpPr>
        <p:spPr bwMode="auto">
          <a:xfrm>
            <a:off x="407988" y="696913"/>
            <a:ext cx="6197600" cy="34861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3450" y="4414838"/>
            <a:ext cx="5143500" cy="4184650"/>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4102" name="Rectangle 6"/>
          <p:cNvSpPr>
            <a:spLocks noGrp="1" noChangeArrowheads="1"/>
          </p:cNvSpPr>
          <p:nvPr>
            <p:ph type="ftr" sz="quarter" idx="4"/>
          </p:nvPr>
        </p:nvSpPr>
        <p:spPr bwMode="auto">
          <a:xfrm>
            <a:off x="0" y="8831263"/>
            <a:ext cx="3036888"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4103" name="Rectangle 7"/>
          <p:cNvSpPr>
            <a:spLocks noGrp="1" noChangeArrowheads="1"/>
          </p:cNvSpPr>
          <p:nvPr>
            <p:ph type="sldNum" sz="quarter" idx="5"/>
          </p:nvPr>
        </p:nvSpPr>
        <p:spPr bwMode="auto">
          <a:xfrm>
            <a:off x="3973513" y="8831263"/>
            <a:ext cx="3036887"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9B02FACB-859A-4BF5-A3BF-807104680974}" type="slidenum">
              <a:rPr lang="en-US" altLang="en-US"/>
              <a:pPr>
                <a:defRPr/>
              </a:pPr>
              <a:t>‹#›</a:t>
            </a:fld>
            <a:endParaRPr lang="en-US" altLang="en-US"/>
          </a:p>
        </p:txBody>
      </p:sp>
    </p:spTree>
    <p:extLst>
      <p:ext uri="{BB962C8B-B14F-4D97-AF65-F5344CB8AC3E}">
        <p14:creationId xmlns:p14="http://schemas.microsoft.com/office/powerpoint/2010/main" val="3394289828"/>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7600" cy="34861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2CBF953E-0C94-4B8C-8A02-E9255644BE97}" type="datetime1">
              <a:rPr lang="en-US" altLang="en-US" smtClean="0"/>
              <a:pPr>
                <a:defRPr/>
              </a:pPr>
              <a:t>3/30/22</a:t>
            </a:fld>
            <a:endParaRPr lang="en-US" altLang="en-US" dirty="0"/>
          </a:p>
        </p:txBody>
      </p:sp>
      <p:sp>
        <p:nvSpPr>
          <p:cNvPr id="5" name="Slide Number Placeholder 4"/>
          <p:cNvSpPr>
            <a:spLocks noGrp="1"/>
          </p:cNvSpPr>
          <p:nvPr>
            <p:ph type="sldNum" sz="quarter" idx="11"/>
          </p:nvPr>
        </p:nvSpPr>
        <p:spPr/>
        <p:txBody>
          <a:bodyPr/>
          <a:lstStyle/>
          <a:p>
            <a:pPr>
              <a:defRPr/>
            </a:pPr>
            <a:fld id="{F14ED6DD-8C02-41CD-992D-DB8C64603FEF}" type="slidenum">
              <a:rPr lang="en-US" altLang="en-US" smtClean="0"/>
              <a:pPr>
                <a:defRPr/>
              </a:pPr>
              <a:t>1</a:t>
            </a:fld>
            <a:endParaRPr lang="en-US" altLang="en-US" dirty="0"/>
          </a:p>
        </p:txBody>
      </p:sp>
    </p:spTree>
    <p:extLst>
      <p:ext uri="{BB962C8B-B14F-4D97-AF65-F5344CB8AC3E}">
        <p14:creationId xmlns:p14="http://schemas.microsoft.com/office/powerpoint/2010/main" val="3396300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dt" sz="quarter" idx="1"/>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E0AD1FF3-D553-4921-954A-494738CA64E8}" type="datetime1">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3/30/22</a:t>
            </a:fld>
            <a:endParaRPr kumimoji="0" lang="en-US" altLang="en-US" sz="1200" b="0" i="0" u="none" strike="noStrike" kern="1200" cap="none" spc="0" normalizeH="0" baseline="0" noProof="0" dirty="0">
              <a:ln>
                <a:noFill/>
              </a:ln>
              <a:solidFill>
                <a:prstClr val="black"/>
              </a:solidFill>
              <a:effectLst/>
              <a:uLnTx/>
              <a:uFillTx/>
              <a:latin typeface="Times New Roman" pitchFamily="18" charset="0"/>
              <a:ea typeface="+mn-ea"/>
              <a:cs typeface="+mn-cs"/>
            </a:endParaRPr>
          </a:p>
        </p:txBody>
      </p:sp>
      <p:sp>
        <p:nvSpPr>
          <p:cNvPr id="46083" name="Rectangle 7"/>
          <p:cNvSpPr>
            <a:spLocks noGrp="1" noChangeArrowheads="1"/>
          </p:cNvSpPr>
          <p:nvPr>
            <p:ph type="sldNum" sz="quarter" idx="5"/>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5F981E48-85CE-400C-8ED8-73993DD504EF}" type="slidenum">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3</a:t>
            </a:fld>
            <a:endParaRPr kumimoji="0" lang="en-US" altLang="en-US" sz="1200" b="0" i="0" u="none" strike="noStrike" kern="1200" cap="none" spc="0" normalizeH="0" baseline="0" noProof="0" dirty="0">
              <a:ln>
                <a:noFill/>
              </a:ln>
              <a:solidFill>
                <a:prstClr val="black"/>
              </a:solidFill>
              <a:effectLst/>
              <a:uLnTx/>
              <a:uFillTx/>
              <a:latin typeface="Times New Roman" pitchFamily="18" charset="0"/>
              <a:ea typeface="+mn-ea"/>
              <a:cs typeface="+mn-cs"/>
            </a:endParaRPr>
          </a:p>
        </p:txBody>
      </p:sp>
      <p:sp>
        <p:nvSpPr>
          <p:cNvPr id="48132" name="Rectangle 2"/>
          <p:cNvSpPr>
            <a:spLocks noGrp="1" noRot="1" noChangeAspect="1" noChangeArrowheads="1" noTextEdit="1"/>
          </p:cNvSpPr>
          <p:nvPr>
            <p:ph type="sldImg"/>
          </p:nvPr>
        </p:nvSpPr>
        <p:spPr>
          <a:xfrm>
            <a:off x="409575" y="696913"/>
            <a:ext cx="6197600" cy="3487737"/>
          </a:xfrm>
          <a:ln/>
        </p:spPr>
      </p:sp>
      <p:sp>
        <p:nvSpPr>
          <p:cNvPr id="48133" name="Rectangle 3"/>
          <p:cNvSpPr>
            <a:spLocks noGrp="1" noChangeArrowheads="1"/>
          </p:cNvSpPr>
          <p:nvPr>
            <p:ph type="body" idx="1"/>
          </p:nvPr>
        </p:nvSpPr>
        <p:spPr>
          <a:xfrm>
            <a:off x="931863" y="4416425"/>
            <a:ext cx="5146675" cy="4183063"/>
          </a:xfrm>
          <a:noFill/>
          <a:ln/>
        </p:spPr>
        <p:txBody>
          <a:bodyPr/>
          <a:lstStyle/>
          <a:p>
            <a:pPr eaLnBrk="1" hangingPunct="1"/>
            <a:endParaRPr lang="en-CA" dirty="0"/>
          </a:p>
        </p:txBody>
      </p:sp>
    </p:spTree>
    <p:extLst>
      <p:ext uri="{BB962C8B-B14F-4D97-AF65-F5344CB8AC3E}">
        <p14:creationId xmlns:p14="http://schemas.microsoft.com/office/powerpoint/2010/main" val="2774475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3/30/22</a:t>
            </a:fld>
            <a:endParaRPr lang="en-US" altLang="en-US" dirty="0"/>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4</a:t>
            </a:fld>
            <a:endParaRPr lang="en-US" altLang="en-US" dirty="0"/>
          </a:p>
        </p:txBody>
      </p:sp>
    </p:spTree>
    <p:extLst>
      <p:ext uri="{BB962C8B-B14F-4D97-AF65-F5344CB8AC3E}">
        <p14:creationId xmlns:p14="http://schemas.microsoft.com/office/powerpoint/2010/main" val="3065766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3/30/22</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6</a:t>
            </a:fld>
            <a:endParaRPr lang="en-US" altLang="en-US"/>
          </a:p>
        </p:txBody>
      </p:sp>
    </p:spTree>
    <p:extLst>
      <p:ext uri="{BB962C8B-B14F-4D97-AF65-F5344CB8AC3E}">
        <p14:creationId xmlns:p14="http://schemas.microsoft.com/office/powerpoint/2010/main" val="20897285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3/30/22</a:t>
            </a:fld>
            <a:endParaRPr lang="en-US" altLang="en-US" dirty="0"/>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7</a:t>
            </a:fld>
            <a:endParaRPr lang="en-US" altLang="en-US" dirty="0"/>
          </a:p>
        </p:txBody>
      </p:sp>
    </p:spTree>
    <p:extLst>
      <p:ext uri="{BB962C8B-B14F-4D97-AF65-F5344CB8AC3E}">
        <p14:creationId xmlns:p14="http://schemas.microsoft.com/office/powerpoint/2010/main" val="32394268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s://www.everestgrp.com/blog" TargetMode="External"/><Relationship Id="rId13" Type="http://schemas.openxmlformats.org/officeDocument/2006/relationships/hyperlink" Target="https://twitter.com/EverestGroup" TargetMode="External"/><Relationship Id="rId18" Type="http://schemas.openxmlformats.org/officeDocument/2006/relationships/hyperlink" Target="https://www.facebook.com/everestgrp/" TargetMode="External"/><Relationship Id="rId3" Type="http://schemas.openxmlformats.org/officeDocument/2006/relationships/hyperlink" Target="mailto:info@everestgrp.com" TargetMode="External"/><Relationship Id="rId21" Type="http://schemas.openxmlformats.org/officeDocument/2006/relationships/image" Target="../media/image14.png"/><Relationship Id="rId7" Type="http://schemas.openxmlformats.org/officeDocument/2006/relationships/hyperlink" Target="https://www.everestgrp.com/" TargetMode="External"/><Relationship Id="rId12" Type="http://schemas.openxmlformats.org/officeDocument/2006/relationships/image" Target="../media/image7.svg"/><Relationship Id="rId17" Type="http://schemas.openxmlformats.org/officeDocument/2006/relationships/image" Target="../media/image11.svg"/><Relationship Id="rId2" Type="http://schemas.openxmlformats.org/officeDocument/2006/relationships/image" Target="../media/image5.jpeg"/><Relationship Id="rId16" Type="http://schemas.openxmlformats.org/officeDocument/2006/relationships/image" Target="../media/image10.png"/><Relationship Id="rId20" Type="http://schemas.openxmlformats.org/officeDocument/2006/relationships/image" Target="../media/image13.svg"/><Relationship Id="rId1" Type="http://schemas.openxmlformats.org/officeDocument/2006/relationships/slideMaster" Target="../slideMasters/slideMaster1.xml"/><Relationship Id="rId6" Type="http://schemas.openxmlformats.org/officeDocument/2006/relationships/hyperlink" Target="mailto:canada@everestgrp.com" TargetMode="External"/><Relationship Id="rId11" Type="http://schemas.openxmlformats.org/officeDocument/2006/relationships/image" Target="../media/image6.png"/><Relationship Id="rId5" Type="http://schemas.openxmlformats.org/officeDocument/2006/relationships/hyperlink" Target="mailto:unitedkingdom@everestgrp.com" TargetMode="External"/><Relationship Id="rId15" Type="http://schemas.openxmlformats.org/officeDocument/2006/relationships/image" Target="../media/image9.svg"/><Relationship Id="rId10" Type="http://schemas.openxmlformats.org/officeDocument/2006/relationships/hyperlink" Target="https://www.linkedin.com/company/everest-group" TargetMode="External"/><Relationship Id="rId19" Type="http://schemas.openxmlformats.org/officeDocument/2006/relationships/image" Target="../media/image12.png"/><Relationship Id="rId4" Type="http://schemas.openxmlformats.org/officeDocument/2006/relationships/hyperlink" Target="mailto:india@everestgrp.com" TargetMode="External"/><Relationship Id="rId9" Type="http://schemas.openxmlformats.org/officeDocument/2006/relationships/hyperlink" Target="https://www.youtube.com/channel/UCbQ1l16kgLcWzLOSIN3cdHg" TargetMode="External"/><Relationship Id="rId14" Type="http://schemas.openxmlformats.org/officeDocument/2006/relationships/image" Target="../media/image8.png"/><Relationship Id="rId22" Type="http://schemas.openxmlformats.org/officeDocument/2006/relationships/image" Target="../media/image15.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Engineering Services">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190108E-3182-4247-9AB4-E3C4412C277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2851150"/>
            <a:ext cx="12191999" cy="3480552"/>
          </a:xfrm>
          <a:prstGeom prst="rect">
            <a:avLst/>
          </a:prstGeom>
        </p:spPr>
      </p:pic>
      <p:sp>
        <p:nvSpPr>
          <p:cNvPr id="13" name="TextBox 12">
            <a:extLst>
              <a:ext uri="{FF2B5EF4-FFF2-40B4-BE49-F238E27FC236}">
                <a16:creationId xmlns:a16="http://schemas.microsoft.com/office/drawing/2014/main" id="{D2586EAF-BD40-471D-BAF4-BFEBF5D9FE91}"/>
              </a:ext>
            </a:extLst>
          </p:cNvPr>
          <p:cNvSpPr txBox="1"/>
          <p:nvPr userDrawn="1"/>
        </p:nvSpPr>
        <p:spPr>
          <a:xfrm>
            <a:off x="0" y="6331702"/>
            <a:ext cx="12192000" cy="526298"/>
          </a:xfrm>
          <a:prstGeom prst="rect">
            <a:avLst/>
          </a:prstGeom>
          <a:solidFill>
            <a:schemeClr val="bg1"/>
          </a:solidFill>
          <a:ln>
            <a:noFill/>
          </a:ln>
        </p:spPr>
        <p:txBody>
          <a:bodyPr wrap="square" lIns="0" tIns="73152" rIns="1371600" bIns="73152" rtlCol="0">
            <a:spAutoFit/>
          </a:bodyPr>
          <a:lstStyle/>
          <a:p>
            <a:pPr marL="228600" algn="l"/>
            <a:r>
              <a:rPr lang="en-US" sz="800" b="1" spc="0" dirty="0">
                <a:solidFill>
                  <a:srgbClr val="FFFFFF">
                    <a:lumMod val="50000"/>
                  </a:srgbClr>
                </a:solidFill>
              </a:rPr>
              <a:t>Copyright © 2022 Everest Global, Inc.</a:t>
            </a:r>
          </a:p>
          <a:p>
            <a:pPr marL="228600" algn="l"/>
            <a:r>
              <a:rPr lang="en-IN" sz="800" i="1" spc="0" dirty="0">
                <a:solidFill>
                  <a:srgbClr val="FFFFFF">
                    <a:lumMod val="50000"/>
                  </a:srgbClr>
                </a:solidFill>
              </a:rPr>
              <a:t>We encourage you to share these materials internally within your company and its affiliates. </a:t>
            </a:r>
            <a:r>
              <a:rPr lang="en-US" sz="800" i="1" spc="-10" baseline="0" dirty="0">
                <a:solidFill>
                  <a:srgbClr val="FFFFFF">
                    <a:lumMod val="50000"/>
                  </a:srgbClr>
                </a:solidFill>
              </a:rPr>
              <a:t>In accordance with the license granted</a:t>
            </a:r>
            <a:r>
              <a:rPr lang="en-US" sz="800" i="1" spc="0" dirty="0">
                <a:solidFill>
                  <a:srgbClr val="FFFFFF">
                    <a:lumMod val="50000"/>
                  </a:srgbClr>
                </a:solidFill>
              </a:rPr>
              <a:t>, however, </a:t>
            </a:r>
            <a:r>
              <a:rPr lang="en-US" sz="800" i="1" spc="0" baseline="0" dirty="0">
                <a:solidFill>
                  <a:srgbClr val="FFFFFF">
                    <a:lumMod val="50000"/>
                  </a:srgbClr>
                </a:solidFill>
              </a:rPr>
              <a:t>sharing these materials outside of your organizatio</a:t>
            </a:r>
            <a:r>
              <a:rPr lang="en-US" sz="800" i="1" spc="0" dirty="0">
                <a:solidFill>
                  <a:srgbClr val="FFFFFF">
                    <a:lumMod val="50000"/>
                  </a:srgbClr>
                </a:solidFill>
              </a:rPr>
              <a:t>n in any form – electronic, written, or verbal – is prohibited unless you obtain the express, prior, and written consent of Everest Global, Inc.</a:t>
            </a:r>
            <a:r>
              <a:rPr lang="en-IN" sz="800" i="1" spc="0" dirty="0">
                <a:solidFill>
                  <a:srgbClr val="FFFFFF">
                    <a:lumMod val="50000"/>
                  </a:srgbClr>
                </a:solidFill>
              </a:rPr>
              <a:t> It is your organization’s responsibility to maintain the confidentiality of these materials in accordance with your license of them.</a:t>
            </a:r>
            <a:endParaRPr lang="en-US" sz="800" spc="0" dirty="0">
              <a:solidFill>
                <a:srgbClr val="FFFFFF">
                  <a:lumMod val="50000"/>
                </a:srgbClr>
              </a:solidFill>
            </a:endParaRPr>
          </a:p>
        </p:txBody>
      </p:sp>
      <p:cxnSp>
        <p:nvCxnSpPr>
          <p:cNvPr id="16" name="Straight Connector 15">
            <a:extLst>
              <a:ext uri="{FF2B5EF4-FFF2-40B4-BE49-F238E27FC236}">
                <a16:creationId xmlns:a16="http://schemas.microsoft.com/office/drawing/2014/main" id="{86A46D8B-CA14-43E8-B7F8-FACAF791CE3D}"/>
              </a:ext>
            </a:extLst>
          </p:cNvPr>
          <p:cNvCxnSpPr/>
          <p:nvPr userDrawn="1"/>
        </p:nvCxnSpPr>
        <p:spPr bwMode="auto">
          <a:xfrm>
            <a:off x="10737614" y="6563518"/>
            <a:ext cx="0" cy="205575"/>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17" name="Rectangle 16">
            <a:extLst>
              <a:ext uri="{FF2B5EF4-FFF2-40B4-BE49-F238E27FC236}">
                <a16:creationId xmlns:a16="http://schemas.microsoft.com/office/drawing/2014/main" id="{542F884C-D847-4FF5-8E7D-B4E25FBDA1A0}"/>
              </a:ext>
            </a:extLst>
          </p:cNvPr>
          <p:cNvSpPr/>
          <p:nvPr userDrawn="1"/>
        </p:nvSpPr>
        <p:spPr bwMode="auto">
          <a:xfrm>
            <a:off x="0" y="1666876"/>
            <a:ext cx="200564" cy="3514724"/>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27" name="Rectangle 26">
            <a:extLst>
              <a:ext uri="{FF2B5EF4-FFF2-40B4-BE49-F238E27FC236}">
                <a16:creationId xmlns:a16="http://schemas.microsoft.com/office/drawing/2014/main" id="{DE17399A-9BCB-4777-82C2-24EB0EB41A55}"/>
              </a:ext>
            </a:extLst>
          </p:cNvPr>
          <p:cNvSpPr/>
          <p:nvPr userDrawn="1"/>
        </p:nvSpPr>
        <p:spPr>
          <a:xfrm>
            <a:off x="10924843" y="6590235"/>
            <a:ext cx="1077218" cy="123111"/>
          </a:xfrm>
          <a:prstGeom prst="rect">
            <a:avLst/>
          </a:prstGeom>
        </p:spPr>
        <p:txBody>
          <a:bodyPr wrap="none" lIns="0" tIns="0" rIns="0" bIns="0">
            <a:spAutoFit/>
          </a:bodyPr>
          <a:lstStyle/>
          <a:p>
            <a:r>
              <a:rPr lang="en-IN" sz="800" kern="0" dirty="0">
                <a:solidFill>
                  <a:schemeClr val="bg1">
                    <a:lumMod val="50000"/>
                  </a:schemeClr>
                </a:solidFill>
              </a:rPr>
              <a:t>EGR-2022-40-CA-5077</a:t>
            </a:r>
            <a:endParaRPr lang="en-US" sz="800" dirty="0">
              <a:solidFill>
                <a:schemeClr val="bg1">
                  <a:lumMod val="50000"/>
                </a:schemeClr>
              </a:solidFill>
            </a:endParaRPr>
          </a:p>
        </p:txBody>
      </p:sp>
      <p:grpSp>
        <p:nvGrpSpPr>
          <p:cNvPr id="18" name="Group 17">
            <a:extLst>
              <a:ext uri="{FF2B5EF4-FFF2-40B4-BE49-F238E27FC236}">
                <a16:creationId xmlns:a16="http://schemas.microsoft.com/office/drawing/2014/main" id="{25B701E6-0AB5-4CBA-A3A4-13E127E3E036}"/>
              </a:ext>
            </a:extLst>
          </p:cNvPr>
          <p:cNvGrpSpPr/>
          <p:nvPr userDrawn="1"/>
        </p:nvGrpSpPr>
        <p:grpSpPr>
          <a:xfrm>
            <a:off x="9213681" y="286670"/>
            <a:ext cx="2571641" cy="663456"/>
            <a:chOff x="9213681" y="286670"/>
            <a:chExt cx="2571641" cy="663456"/>
          </a:xfrm>
        </p:grpSpPr>
        <p:grpSp>
          <p:nvGrpSpPr>
            <p:cNvPr id="19" name="Group 18">
              <a:extLst>
                <a:ext uri="{FF2B5EF4-FFF2-40B4-BE49-F238E27FC236}">
                  <a16:creationId xmlns:a16="http://schemas.microsoft.com/office/drawing/2014/main" id="{C374FD15-3032-48EC-A134-BE79278828AB}"/>
                </a:ext>
              </a:extLst>
            </p:cNvPr>
            <p:cNvGrpSpPr/>
            <p:nvPr userDrawn="1"/>
          </p:nvGrpSpPr>
          <p:grpSpPr>
            <a:xfrm>
              <a:off x="9213681" y="286670"/>
              <a:ext cx="1654773" cy="663456"/>
              <a:chOff x="9213681" y="286670"/>
              <a:chExt cx="1654773" cy="663456"/>
            </a:xfrm>
          </p:grpSpPr>
          <p:sp>
            <p:nvSpPr>
              <p:cNvPr id="28" name="TextBox 27">
                <a:extLst>
                  <a:ext uri="{FF2B5EF4-FFF2-40B4-BE49-F238E27FC236}">
                    <a16:creationId xmlns:a16="http://schemas.microsoft.com/office/drawing/2014/main" id="{B3780330-0DD0-4333-8F9D-95DD85E507A9}"/>
                  </a:ext>
                </a:extLst>
              </p:cNvPr>
              <p:cNvSpPr txBox="1"/>
              <p:nvPr userDrawn="1"/>
            </p:nvSpPr>
            <p:spPr>
              <a:xfrm>
                <a:off x="9213681" y="322086"/>
                <a:ext cx="1560838" cy="538609"/>
              </a:xfrm>
              <a:prstGeom prst="rect">
                <a:avLst/>
              </a:prstGeom>
              <a:noFill/>
            </p:spPr>
            <p:txBody>
              <a:bodyPr wrap="square" lIns="0" tIns="0" rIns="0" bIns="0" rtlCol="0">
                <a:spAutoFit/>
              </a:bodyPr>
              <a:lstStyle/>
              <a:p>
                <a:pPr algn="r">
                  <a:lnSpc>
                    <a:spcPts val="2100"/>
                  </a:lnSpc>
                </a:pPr>
                <a:r>
                  <a:rPr lang="en-IN" sz="1800" dirty="0"/>
                  <a:t>Thematic Report</a:t>
                </a:r>
              </a:p>
            </p:txBody>
          </p:sp>
          <p:cxnSp>
            <p:nvCxnSpPr>
              <p:cNvPr id="29" name="Straight Connector 28">
                <a:extLst>
                  <a:ext uri="{FF2B5EF4-FFF2-40B4-BE49-F238E27FC236}">
                    <a16:creationId xmlns:a16="http://schemas.microsoft.com/office/drawing/2014/main" id="{9BCDA223-C1B2-41E1-8EFD-547BF2105E26}"/>
                  </a:ext>
                </a:extLst>
              </p:cNvPr>
              <p:cNvCxnSpPr>
                <a:cxnSpLocks/>
              </p:cNvCxnSpPr>
              <p:nvPr/>
            </p:nvCxnSpPr>
            <p:spPr bwMode="auto">
              <a:xfrm>
                <a:off x="10868454" y="286670"/>
                <a:ext cx="0" cy="663456"/>
              </a:xfrm>
              <a:prstGeom prst="line">
                <a:avLst/>
              </a:prstGeom>
              <a:noFill/>
              <a:ln w="12700" cap="flat" cmpd="sng" algn="ctr">
                <a:solidFill>
                  <a:schemeClr val="accent5"/>
                </a:solidFill>
                <a:prstDash val="solid"/>
                <a:round/>
                <a:headEnd type="none" w="med" len="med"/>
                <a:tailEnd type="none" w="med" len="med"/>
              </a:ln>
              <a:effectLst/>
            </p:spPr>
          </p:cxnSp>
        </p:grpSp>
        <p:sp>
          <p:nvSpPr>
            <p:cNvPr id="20" name="Rectangle 19">
              <a:extLst>
                <a:ext uri="{FF2B5EF4-FFF2-40B4-BE49-F238E27FC236}">
                  <a16:creationId xmlns:a16="http://schemas.microsoft.com/office/drawing/2014/main" id="{B78BEC61-526A-448A-A247-20E043E20BBD}"/>
                </a:ext>
              </a:extLst>
            </p:cNvPr>
            <p:cNvSpPr/>
            <p:nvPr userDrawn="1"/>
          </p:nvSpPr>
          <p:spPr>
            <a:xfrm>
              <a:off x="10969393" y="433732"/>
              <a:ext cx="815929" cy="369332"/>
            </a:xfrm>
            <a:prstGeom prst="rect">
              <a:avLst/>
            </a:prstGeom>
          </p:spPr>
          <p:txBody>
            <a:bodyPr wrap="none" lIns="0" tIns="0" rIns="0" bIns="0" anchor="ctr">
              <a:spAutoFit/>
            </a:bodyPr>
            <a:lstStyle/>
            <a:p>
              <a:r>
                <a:rPr lang="en-US" sz="1200" dirty="0">
                  <a:solidFill>
                    <a:schemeClr val="bg1">
                      <a:lumMod val="50000"/>
                    </a:schemeClr>
                  </a:solidFill>
                </a:rPr>
                <a:t>Engineering</a:t>
              </a:r>
              <a:br>
                <a:rPr lang="en-US" sz="1200" dirty="0">
                  <a:solidFill>
                    <a:schemeClr val="bg1">
                      <a:lumMod val="50000"/>
                    </a:schemeClr>
                  </a:solidFill>
                </a:rPr>
              </a:br>
              <a:r>
                <a:rPr lang="en-US" sz="1200" dirty="0">
                  <a:solidFill>
                    <a:schemeClr val="bg1">
                      <a:lumMod val="50000"/>
                    </a:schemeClr>
                  </a:solidFill>
                </a:rPr>
                <a:t>Services</a:t>
              </a:r>
            </a:p>
          </p:txBody>
        </p:sp>
      </p:grpSp>
      <p:pic>
        <p:nvPicPr>
          <p:cNvPr id="15" name="Graphic 14">
            <a:extLst>
              <a:ext uri="{FF2B5EF4-FFF2-40B4-BE49-F238E27FC236}">
                <a16:creationId xmlns:a16="http://schemas.microsoft.com/office/drawing/2014/main" id="{0B777AC1-E827-6F45-9332-A3F7BE6AD32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33350" y="151498"/>
            <a:ext cx="2356803" cy="1031101"/>
          </a:xfrm>
          <a:prstGeom prst="rect">
            <a:avLst/>
          </a:prstGeom>
        </p:spPr>
      </p:pic>
    </p:spTree>
    <p:extLst>
      <p:ext uri="{BB962C8B-B14F-4D97-AF65-F5344CB8AC3E}">
        <p14:creationId xmlns:p14="http://schemas.microsoft.com/office/powerpoint/2010/main" val="378120458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Only Footer and Title wothout no.">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3F4B1E3E-A1FB-459D-9A2B-3267BC9FFBDB}"/>
              </a:ext>
            </a:extLst>
          </p:cNvPr>
          <p:cNvSpPr>
            <a:spLocks noGrp="1" noChangeArrowheads="1"/>
          </p:cNvSpPr>
          <p:nvPr>
            <p:ph type="title" hasCustomPrompt="1"/>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a:lvl1pPr>
          </a:lstStyle>
          <a:p>
            <a:pPr lvl="0"/>
            <a:r>
              <a:rPr lang="en-US"/>
              <a:t>Master title style is 18pt, “Arial Black” font</a:t>
            </a:r>
          </a:p>
        </p:txBody>
      </p:sp>
      <p:sp>
        <p:nvSpPr>
          <p:cNvPr id="6" name="Rectangle 5">
            <a:extLst>
              <a:ext uri="{FF2B5EF4-FFF2-40B4-BE49-F238E27FC236}">
                <a16:creationId xmlns:a16="http://schemas.microsoft.com/office/drawing/2014/main" id="{1B0F89B3-7FF7-40B9-A0AE-6771692D1081}"/>
              </a:ext>
            </a:extLst>
          </p:cNvPr>
          <p:cNvSpPr/>
          <p:nvPr userDrawn="1"/>
        </p:nvSpPr>
        <p:spPr bwMode="auto">
          <a:xfrm>
            <a:off x="0" y="0"/>
            <a:ext cx="161395" cy="1412621"/>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1" name="Slide Number Placeholder 2">
            <a:extLst>
              <a:ext uri="{FF2B5EF4-FFF2-40B4-BE49-F238E27FC236}">
                <a16:creationId xmlns:a16="http://schemas.microsoft.com/office/drawing/2014/main" id="{FB7E87DB-9FE1-4C5C-966E-7AA5FBD111CD}"/>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2-40-CA-5077</a:t>
            </a:r>
            <a:endParaRPr lang="en-IN" sz="700" dirty="0">
              <a:solidFill>
                <a:schemeClr val="bg1">
                  <a:lumMod val="75000"/>
                </a:schemeClr>
              </a:solidFill>
            </a:endParaRPr>
          </a:p>
        </p:txBody>
      </p:sp>
      <p:pic>
        <p:nvPicPr>
          <p:cNvPr id="7" name="Graphic 6">
            <a:extLst>
              <a:ext uri="{FF2B5EF4-FFF2-40B4-BE49-F238E27FC236}">
                <a16:creationId xmlns:a16="http://schemas.microsoft.com/office/drawing/2014/main" id="{C041158A-284F-EE41-8B8A-537EF7B414A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293580698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40AD43-958B-428C-99FA-6570E55238B0}"/>
              </a:ext>
            </a:extLst>
          </p:cNvPr>
          <p:cNvSpPr>
            <a:spLocks noGrp="1"/>
          </p:cNvSpPr>
          <p:nvPr>
            <p:ph type="title"/>
          </p:nvPr>
        </p:nvSpPr>
        <p:spPr bwMode="gray">
          <a:xfrm>
            <a:off x="307975" y="622777"/>
            <a:ext cx="11598275" cy="276999"/>
          </a:xfrm>
          <a:prstGeom prst="rect">
            <a:avLst/>
          </a:prstGeom>
        </p:spPr>
        <p:txBody>
          <a:bodyPr/>
          <a:lstStyle>
            <a:lvl1pPr>
              <a:spcBef>
                <a:spcPts val="0"/>
              </a:spcBef>
              <a:spcAft>
                <a:spcPts val="0"/>
              </a:spcAft>
              <a:defRPr sz="1800"/>
            </a:lvl1pPr>
          </a:lstStyle>
          <a:p>
            <a:r>
              <a:rPr lang="en-US"/>
              <a:t>Click to edit Master title style</a:t>
            </a:r>
          </a:p>
        </p:txBody>
      </p:sp>
    </p:spTree>
    <p:extLst>
      <p:ext uri="{BB962C8B-B14F-4D97-AF65-F5344CB8AC3E}">
        <p14:creationId xmlns:p14="http://schemas.microsoft.com/office/powerpoint/2010/main" val="302949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s pag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9FF65AB-C532-47E5-AD4D-DE5A1D501D08}"/>
              </a:ext>
            </a:extLst>
          </p:cNvPr>
          <p:cNvSpPr/>
          <p:nvPr userDrawn="1"/>
        </p:nvSpPr>
        <p:spPr bwMode="auto">
          <a:xfrm>
            <a:off x="3682680" y="-1"/>
            <a:ext cx="130114" cy="3017520"/>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7" name="Rectangle 13">
            <a:extLst>
              <a:ext uri="{FF2B5EF4-FFF2-40B4-BE49-F238E27FC236}">
                <a16:creationId xmlns:a16="http://schemas.microsoft.com/office/drawing/2014/main" id="{DAC150AA-421F-484A-9EB9-2195848FEA8E}"/>
              </a:ext>
            </a:extLst>
          </p:cNvPr>
          <p:cNvSpPr txBox="1">
            <a:spLocks noChangeArrowheads="1"/>
          </p:cNvSpPr>
          <p:nvPr userDrawn="1"/>
        </p:nvSpPr>
        <p:spPr bwMode="gray">
          <a:xfrm>
            <a:off x="287812" y="928154"/>
            <a:ext cx="3456377"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ts val="0"/>
              </a:spcBef>
              <a:spcAft>
                <a:spcPts val="0"/>
              </a:spcAft>
              <a:defRPr sz="2000">
                <a:solidFill>
                  <a:schemeClr val="accent2"/>
                </a:solidFill>
                <a:latin typeface="+mj-lt"/>
                <a:ea typeface="+mj-ea"/>
                <a:cs typeface="+mj-cs"/>
              </a:defRPr>
            </a:lvl1pPr>
            <a:lvl2pPr algn="l" rtl="0" eaLnBrk="1" fontAlgn="base" hangingPunct="1">
              <a:spcBef>
                <a:spcPct val="0"/>
              </a:spcBef>
              <a:spcAft>
                <a:spcPct val="0"/>
              </a:spcAft>
              <a:defRPr sz="2000">
                <a:solidFill>
                  <a:srgbClr val="3333FF"/>
                </a:solidFill>
                <a:latin typeface="Arial Black" pitchFamily="34" charset="0"/>
              </a:defRPr>
            </a:lvl2pPr>
            <a:lvl3pPr algn="l" rtl="0" eaLnBrk="1" fontAlgn="base" hangingPunct="1">
              <a:spcBef>
                <a:spcPct val="0"/>
              </a:spcBef>
              <a:spcAft>
                <a:spcPct val="0"/>
              </a:spcAft>
              <a:defRPr sz="2000">
                <a:solidFill>
                  <a:srgbClr val="3333FF"/>
                </a:solidFill>
                <a:latin typeface="Arial Black" pitchFamily="34" charset="0"/>
              </a:defRPr>
            </a:lvl3pPr>
            <a:lvl4pPr algn="l" rtl="0" eaLnBrk="1" fontAlgn="base" hangingPunct="1">
              <a:spcBef>
                <a:spcPct val="0"/>
              </a:spcBef>
              <a:spcAft>
                <a:spcPct val="0"/>
              </a:spcAft>
              <a:defRPr sz="2000">
                <a:solidFill>
                  <a:srgbClr val="3333FF"/>
                </a:solidFill>
                <a:latin typeface="Arial Black" pitchFamily="34" charset="0"/>
              </a:defRPr>
            </a:lvl4pPr>
            <a:lvl5pPr algn="l" rtl="0" eaLnBrk="1" fontAlgn="base" hangingPunct="1">
              <a:spcBef>
                <a:spcPct val="0"/>
              </a:spcBef>
              <a:spcAft>
                <a:spcPct val="0"/>
              </a:spcAft>
              <a:defRPr sz="2000">
                <a:solidFill>
                  <a:srgbClr val="3333FF"/>
                </a:solidFill>
                <a:latin typeface="Arial Black" pitchFamily="34" charset="0"/>
              </a:defRPr>
            </a:lvl5pPr>
            <a:lvl6pPr marL="457200" algn="l" rtl="0" eaLnBrk="1" fontAlgn="base" hangingPunct="1">
              <a:spcBef>
                <a:spcPct val="0"/>
              </a:spcBef>
              <a:spcAft>
                <a:spcPct val="0"/>
              </a:spcAft>
              <a:defRPr sz="2000">
                <a:solidFill>
                  <a:srgbClr val="3333FF"/>
                </a:solidFill>
                <a:latin typeface="Arial Black" pitchFamily="34" charset="0"/>
              </a:defRPr>
            </a:lvl6pPr>
            <a:lvl7pPr marL="914400" algn="l" rtl="0" eaLnBrk="1" fontAlgn="base" hangingPunct="1">
              <a:spcBef>
                <a:spcPct val="0"/>
              </a:spcBef>
              <a:spcAft>
                <a:spcPct val="0"/>
              </a:spcAft>
              <a:defRPr sz="2000">
                <a:solidFill>
                  <a:srgbClr val="3333FF"/>
                </a:solidFill>
                <a:latin typeface="Arial Black" pitchFamily="34" charset="0"/>
              </a:defRPr>
            </a:lvl7pPr>
            <a:lvl8pPr marL="1371600" algn="l" rtl="0" eaLnBrk="1" fontAlgn="base" hangingPunct="1">
              <a:spcBef>
                <a:spcPct val="0"/>
              </a:spcBef>
              <a:spcAft>
                <a:spcPct val="0"/>
              </a:spcAft>
              <a:defRPr sz="2000">
                <a:solidFill>
                  <a:srgbClr val="3333FF"/>
                </a:solidFill>
                <a:latin typeface="Arial Black" pitchFamily="34" charset="0"/>
              </a:defRPr>
            </a:lvl8pPr>
            <a:lvl9pPr marL="1828800" algn="l" rtl="0" eaLnBrk="1" fontAlgn="base" hangingPunct="1">
              <a:spcBef>
                <a:spcPct val="0"/>
              </a:spcBef>
              <a:spcAft>
                <a:spcPct val="0"/>
              </a:spcAft>
              <a:defRPr sz="2000">
                <a:solidFill>
                  <a:srgbClr val="3333FF"/>
                </a:solidFill>
                <a:latin typeface="Arial Black"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0" b="0" i="0" u="none" strike="noStrike" kern="1200" cap="none" spc="0" normalizeH="0" baseline="0" noProof="0" dirty="0">
                <a:ln>
                  <a:noFill/>
                </a:ln>
                <a:solidFill>
                  <a:srgbClr val="005A8C"/>
                </a:solidFill>
                <a:effectLst/>
                <a:uLnTx/>
                <a:uFillTx/>
                <a:latin typeface="Arial" charset="0"/>
                <a:ea typeface="+mj-ea"/>
                <a:cs typeface="Arial" charset="0"/>
              </a:rPr>
              <a:t>Contents</a:t>
            </a:r>
          </a:p>
        </p:txBody>
      </p:sp>
      <p:sp>
        <p:nvSpPr>
          <p:cNvPr id="10" name="Slide Number Placeholder 2">
            <a:extLst>
              <a:ext uri="{FF2B5EF4-FFF2-40B4-BE49-F238E27FC236}">
                <a16:creationId xmlns:a16="http://schemas.microsoft.com/office/drawing/2014/main" id="{ED4F85C4-2535-4BDA-96BE-2E4A9FAE5ABA}"/>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2-40-CA-5077</a:t>
            </a:r>
            <a:endParaRPr lang="en-IN" sz="700" dirty="0">
              <a:solidFill>
                <a:schemeClr val="bg1">
                  <a:lumMod val="75000"/>
                </a:schemeClr>
              </a:solidFill>
            </a:endParaRPr>
          </a:p>
        </p:txBody>
      </p:sp>
      <p:pic>
        <p:nvPicPr>
          <p:cNvPr id="11" name="Graphic 10">
            <a:extLst>
              <a:ext uri="{FF2B5EF4-FFF2-40B4-BE49-F238E27FC236}">
                <a16:creationId xmlns:a16="http://schemas.microsoft.com/office/drawing/2014/main" id="{C9874F8D-B0FD-467F-9401-918BB91D9B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12" name="Rectangle 32">
            <a:extLst>
              <a:ext uri="{FF2B5EF4-FFF2-40B4-BE49-F238E27FC236}">
                <a16:creationId xmlns:a16="http://schemas.microsoft.com/office/drawing/2014/main" id="{F52DD063-948F-4400-9875-D7CF596D286D}"/>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graphicFrame>
        <p:nvGraphicFramePr>
          <p:cNvPr id="8" name="Table 7">
            <a:extLst>
              <a:ext uri="{FF2B5EF4-FFF2-40B4-BE49-F238E27FC236}">
                <a16:creationId xmlns:a16="http://schemas.microsoft.com/office/drawing/2014/main" id="{A3ED64ED-D496-4BF6-B379-C4912109E2FC}"/>
              </a:ext>
            </a:extLst>
          </p:cNvPr>
          <p:cNvGraphicFramePr>
            <a:graphicFrameLocks noGrp="1"/>
          </p:cNvGraphicFramePr>
          <p:nvPr userDrawn="1">
            <p:extLst>
              <p:ext uri="{D42A27DB-BD31-4B8C-83A1-F6EECF244321}">
                <p14:modId xmlns:p14="http://schemas.microsoft.com/office/powerpoint/2010/main" val="2117236085"/>
              </p:ext>
            </p:extLst>
          </p:nvPr>
        </p:nvGraphicFramePr>
        <p:xfrm>
          <a:off x="310262" y="4612839"/>
          <a:ext cx="3013387" cy="396240"/>
        </p:xfrm>
        <a:graphic>
          <a:graphicData uri="http://schemas.openxmlformats.org/drawingml/2006/table">
            <a:tbl>
              <a:tblPr firstRow="1" bandRow="1">
                <a:tableStyleId>{5C22544A-7EE6-4342-B048-85BDC9FD1C3A}</a:tableStyleId>
              </a:tblPr>
              <a:tblGrid>
                <a:gridCol w="3013387">
                  <a:extLst>
                    <a:ext uri="{9D8B030D-6E8A-4147-A177-3AD203B41FA5}">
                      <a16:colId xmlns:a16="http://schemas.microsoft.com/office/drawing/2014/main" val="2490264720"/>
                    </a:ext>
                  </a:extLst>
                </a:gridCol>
              </a:tblGrid>
              <a:tr h="0">
                <a:tc>
                  <a:txBody>
                    <a:bodyPr/>
                    <a:lstStyle/>
                    <a:p>
                      <a:pPr algn="l"/>
                      <a:r>
                        <a:rPr lang="en-US" sz="1000" b="0" dirty="0">
                          <a:solidFill>
                            <a:schemeClr val="bg1">
                              <a:lumMod val="50000"/>
                            </a:schemeClr>
                          </a:solidFill>
                        </a:rPr>
                        <a:t>For more information on this and other research published by Everest Group, please contact us:</a:t>
                      </a:r>
                    </a:p>
                  </a:txBody>
                  <a:tcPr marL="0" marR="0" marT="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3172520"/>
                  </a:ext>
                </a:extLst>
              </a:tr>
            </a:tbl>
          </a:graphicData>
        </a:graphic>
      </p:graphicFrame>
    </p:spTree>
    <p:extLst>
      <p:ext uri="{BB962C8B-B14F-4D97-AF65-F5344CB8AC3E}">
        <p14:creationId xmlns:p14="http://schemas.microsoft.com/office/powerpoint/2010/main" val="424366297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s page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74BE1C-ACD4-4C8A-B849-8E8EA6C1F60A}"/>
              </a:ext>
            </a:extLst>
          </p:cNvPr>
          <p:cNvSpPr/>
          <p:nvPr userDrawn="1"/>
        </p:nvSpPr>
        <p:spPr bwMode="auto">
          <a:xfrm>
            <a:off x="3682680" y="-1"/>
            <a:ext cx="130114" cy="3017520"/>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11" name="Rectangle 13">
            <a:extLst>
              <a:ext uri="{FF2B5EF4-FFF2-40B4-BE49-F238E27FC236}">
                <a16:creationId xmlns:a16="http://schemas.microsoft.com/office/drawing/2014/main" id="{A9CB830E-09F3-4112-8429-AEEC36E4B96F}"/>
              </a:ext>
            </a:extLst>
          </p:cNvPr>
          <p:cNvSpPr txBox="1">
            <a:spLocks noChangeArrowheads="1"/>
          </p:cNvSpPr>
          <p:nvPr userDrawn="1"/>
        </p:nvSpPr>
        <p:spPr bwMode="gray">
          <a:xfrm>
            <a:off x="287812" y="928154"/>
            <a:ext cx="3456377"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ts val="0"/>
              </a:spcBef>
              <a:spcAft>
                <a:spcPts val="0"/>
              </a:spcAft>
              <a:defRPr sz="2000">
                <a:solidFill>
                  <a:schemeClr val="accent2"/>
                </a:solidFill>
                <a:latin typeface="+mj-lt"/>
                <a:ea typeface="+mj-ea"/>
                <a:cs typeface="+mj-cs"/>
              </a:defRPr>
            </a:lvl1pPr>
            <a:lvl2pPr algn="l" rtl="0" eaLnBrk="1" fontAlgn="base" hangingPunct="1">
              <a:spcBef>
                <a:spcPct val="0"/>
              </a:spcBef>
              <a:spcAft>
                <a:spcPct val="0"/>
              </a:spcAft>
              <a:defRPr sz="2000">
                <a:solidFill>
                  <a:srgbClr val="3333FF"/>
                </a:solidFill>
                <a:latin typeface="Arial Black" pitchFamily="34" charset="0"/>
              </a:defRPr>
            </a:lvl2pPr>
            <a:lvl3pPr algn="l" rtl="0" eaLnBrk="1" fontAlgn="base" hangingPunct="1">
              <a:spcBef>
                <a:spcPct val="0"/>
              </a:spcBef>
              <a:spcAft>
                <a:spcPct val="0"/>
              </a:spcAft>
              <a:defRPr sz="2000">
                <a:solidFill>
                  <a:srgbClr val="3333FF"/>
                </a:solidFill>
                <a:latin typeface="Arial Black" pitchFamily="34" charset="0"/>
              </a:defRPr>
            </a:lvl3pPr>
            <a:lvl4pPr algn="l" rtl="0" eaLnBrk="1" fontAlgn="base" hangingPunct="1">
              <a:spcBef>
                <a:spcPct val="0"/>
              </a:spcBef>
              <a:spcAft>
                <a:spcPct val="0"/>
              </a:spcAft>
              <a:defRPr sz="2000">
                <a:solidFill>
                  <a:srgbClr val="3333FF"/>
                </a:solidFill>
                <a:latin typeface="Arial Black" pitchFamily="34" charset="0"/>
              </a:defRPr>
            </a:lvl4pPr>
            <a:lvl5pPr algn="l" rtl="0" eaLnBrk="1" fontAlgn="base" hangingPunct="1">
              <a:spcBef>
                <a:spcPct val="0"/>
              </a:spcBef>
              <a:spcAft>
                <a:spcPct val="0"/>
              </a:spcAft>
              <a:defRPr sz="2000">
                <a:solidFill>
                  <a:srgbClr val="3333FF"/>
                </a:solidFill>
                <a:latin typeface="Arial Black" pitchFamily="34" charset="0"/>
              </a:defRPr>
            </a:lvl5pPr>
            <a:lvl6pPr marL="457200" algn="l" rtl="0" eaLnBrk="1" fontAlgn="base" hangingPunct="1">
              <a:spcBef>
                <a:spcPct val="0"/>
              </a:spcBef>
              <a:spcAft>
                <a:spcPct val="0"/>
              </a:spcAft>
              <a:defRPr sz="2000">
                <a:solidFill>
                  <a:srgbClr val="3333FF"/>
                </a:solidFill>
                <a:latin typeface="Arial Black" pitchFamily="34" charset="0"/>
              </a:defRPr>
            </a:lvl6pPr>
            <a:lvl7pPr marL="914400" algn="l" rtl="0" eaLnBrk="1" fontAlgn="base" hangingPunct="1">
              <a:spcBef>
                <a:spcPct val="0"/>
              </a:spcBef>
              <a:spcAft>
                <a:spcPct val="0"/>
              </a:spcAft>
              <a:defRPr sz="2000">
                <a:solidFill>
                  <a:srgbClr val="3333FF"/>
                </a:solidFill>
                <a:latin typeface="Arial Black" pitchFamily="34" charset="0"/>
              </a:defRPr>
            </a:lvl7pPr>
            <a:lvl8pPr marL="1371600" algn="l" rtl="0" eaLnBrk="1" fontAlgn="base" hangingPunct="1">
              <a:spcBef>
                <a:spcPct val="0"/>
              </a:spcBef>
              <a:spcAft>
                <a:spcPct val="0"/>
              </a:spcAft>
              <a:defRPr sz="2000">
                <a:solidFill>
                  <a:srgbClr val="3333FF"/>
                </a:solidFill>
                <a:latin typeface="Arial Black" pitchFamily="34" charset="0"/>
              </a:defRPr>
            </a:lvl8pPr>
            <a:lvl9pPr marL="1828800" algn="l" rtl="0" eaLnBrk="1" fontAlgn="base" hangingPunct="1">
              <a:spcBef>
                <a:spcPct val="0"/>
              </a:spcBef>
              <a:spcAft>
                <a:spcPct val="0"/>
              </a:spcAft>
              <a:defRPr sz="2000">
                <a:solidFill>
                  <a:srgbClr val="3333FF"/>
                </a:solidFill>
                <a:latin typeface="Arial Black" pitchFamily="34" charset="0"/>
              </a:defRPr>
            </a:lvl9pPr>
          </a:lstStyle>
          <a:p>
            <a:pPr marL="0" marR="0" lvl="0" indent="0" defTabSz="914400" eaLnBrk="1" latinLnBrk="0" hangingPunct="1">
              <a:lnSpc>
                <a:spcPct val="100000"/>
              </a:lnSpc>
              <a:spcBef>
                <a:spcPct val="0"/>
              </a:spcBef>
              <a:spcAft>
                <a:spcPct val="0"/>
              </a:spcAft>
              <a:buClrTx/>
              <a:buSzTx/>
              <a:buFontTx/>
              <a:buNone/>
              <a:tabLst/>
              <a:defRPr/>
            </a:pPr>
            <a:r>
              <a:rPr lang="en-US" sz="6000" dirty="0">
                <a:solidFill>
                  <a:schemeClr val="bg1">
                    <a:lumMod val="85000"/>
                  </a:schemeClr>
                </a:solidFill>
                <a:latin typeface="Arial" charset="0"/>
                <a:ea typeface="+mn-ea"/>
                <a:cs typeface="Arial" charset="0"/>
              </a:rPr>
              <a:t>Contents</a:t>
            </a:r>
          </a:p>
        </p:txBody>
      </p:sp>
      <p:sp>
        <p:nvSpPr>
          <p:cNvPr id="7" name="Slide Number Placeholder 2">
            <a:extLst>
              <a:ext uri="{FF2B5EF4-FFF2-40B4-BE49-F238E27FC236}">
                <a16:creationId xmlns:a16="http://schemas.microsoft.com/office/drawing/2014/main" id="{6F0E423B-B734-4BF7-9271-4FA6731B773E}"/>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 | </a:t>
            </a:r>
            <a:r>
              <a:rPr lang="en-IN" sz="700" dirty="0">
                <a:solidFill>
                  <a:schemeClr val="bg1">
                    <a:lumMod val="65000"/>
                  </a:schemeClr>
                </a:solidFill>
              </a:rPr>
              <a:t>EGR-2022-40-CA-5077</a:t>
            </a:r>
            <a:endParaRPr lang="en-US" sz="700" dirty="0">
              <a:solidFill>
                <a:schemeClr val="bg1">
                  <a:lumMod val="65000"/>
                </a:schemeClr>
              </a:solidFill>
            </a:endParaRPr>
          </a:p>
        </p:txBody>
      </p:sp>
      <p:sp>
        <p:nvSpPr>
          <p:cNvPr id="13" name="Rectangle 32">
            <a:extLst>
              <a:ext uri="{FF2B5EF4-FFF2-40B4-BE49-F238E27FC236}">
                <a16:creationId xmlns:a16="http://schemas.microsoft.com/office/drawing/2014/main" id="{D81DB16D-1A18-4C30-98DC-289C86C5A471}"/>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pic>
        <p:nvPicPr>
          <p:cNvPr id="8" name="Graphic 7">
            <a:extLst>
              <a:ext uri="{FF2B5EF4-FFF2-40B4-BE49-F238E27FC236}">
                <a16:creationId xmlns:a16="http://schemas.microsoft.com/office/drawing/2014/main" id="{354C4EDA-712C-B44C-9FF3-69FD81EB21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17034707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opene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C82A3C-41A4-4CCB-843E-EFC268C72971}"/>
              </a:ext>
            </a:extLst>
          </p:cNvPr>
          <p:cNvSpPr/>
          <p:nvPr userDrawn="1"/>
        </p:nvSpPr>
        <p:spPr>
          <a:xfrm>
            <a:off x="1721343" y="2679191"/>
            <a:ext cx="1676101" cy="1938992"/>
          </a:xfrm>
          <a:prstGeom prst="rect">
            <a:avLst/>
          </a:prstGeom>
        </p:spPr>
        <p:txBody>
          <a:bodyPr wrap="none" r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IN" sz="12000" b="1" i="0" u="none" strike="noStrike" kern="1200" cap="all" spc="-500" normalizeH="0" baseline="0" noProof="0" dirty="0">
                <a:ln>
                  <a:noFill/>
                </a:ln>
                <a:solidFill>
                  <a:srgbClr val="005A8C"/>
                </a:solidFill>
                <a:effectLst/>
                <a:uLnTx/>
                <a:uFillTx/>
                <a:latin typeface="Arial" charset="0"/>
                <a:ea typeface="+mn-ea"/>
                <a:cs typeface="Arial" charset="0"/>
              </a:rPr>
              <a:t>01</a:t>
            </a:r>
          </a:p>
        </p:txBody>
      </p:sp>
      <p:cxnSp>
        <p:nvCxnSpPr>
          <p:cNvPr id="7" name="Straight Connector 6">
            <a:extLst>
              <a:ext uri="{FF2B5EF4-FFF2-40B4-BE49-F238E27FC236}">
                <a16:creationId xmlns:a16="http://schemas.microsoft.com/office/drawing/2014/main" id="{193F0FF9-6D71-4BAB-AE2D-8BD9FE3298E4}"/>
              </a:ext>
            </a:extLst>
          </p:cNvPr>
          <p:cNvCxnSpPr>
            <a:cxnSpLocks/>
          </p:cNvCxnSpPr>
          <p:nvPr userDrawn="1"/>
        </p:nvCxnSpPr>
        <p:spPr bwMode="auto">
          <a:xfrm>
            <a:off x="3838578" y="3107291"/>
            <a:ext cx="8353422" cy="0"/>
          </a:xfrm>
          <a:prstGeom prst="line">
            <a:avLst/>
          </a:prstGeom>
          <a:noFill/>
          <a:ln w="12700" cap="flat" cmpd="sng" algn="ctr">
            <a:solidFill>
              <a:schemeClr val="accent2"/>
            </a:solidFill>
            <a:prstDash val="solid"/>
            <a:round/>
            <a:headEnd type="none" w="med" len="med"/>
            <a:tailEnd type="none" w="med" len="med"/>
          </a:ln>
          <a:effectLst/>
        </p:spPr>
      </p:cxnSp>
      <p:sp>
        <p:nvSpPr>
          <p:cNvPr id="10" name="Slide Number Placeholder 2">
            <a:extLst>
              <a:ext uri="{FF2B5EF4-FFF2-40B4-BE49-F238E27FC236}">
                <a16:creationId xmlns:a16="http://schemas.microsoft.com/office/drawing/2014/main" id="{4C708171-41E9-4034-91AB-C6792AF1FF52}"/>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 | </a:t>
            </a:r>
            <a:r>
              <a:rPr lang="en-IN" sz="700" dirty="0">
                <a:solidFill>
                  <a:schemeClr val="bg1">
                    <a:lumMod val="65000"/>
                  </a:schemeClr>
                </a:solidFill>
              </a:rPr>
              <a:t>EGR-2022-40-CA-5077</a:t>
            </a:r>
            <a:endParaRPr lang="en-US" sz="700" dirty="0">
              <a:solidFill>
                <a:schemeClr val="bg1">
                  <a:lumMod val="65000"/>
                </a:schemeClr>
              </a:solidFill>
            </a:endParaRPr>
          </a:p>
        </p:txBody>
      </p:sp>
      <p:sp>
        <p:nvSpPr>
          <p:cNvPr id="12" name="Rectangle 32">
            <a:extLst>
              <a:ext uri="{FF2B5EF4-FFF2-40B4-BE49-F238E27FC236}">
                <a16:creationId xmlns:a16="http://schemas.microsoft.com/office/drawing/2014/main" id="{1154087B-2430-4C8F-8712-4D68B33A0817}"/>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pic>
        <p:nvPicPr>
          <p:cNvPr id="8" name="Graphic 7">
            <a:extLst>
              <a:ext uri="{FF2B5EF4-FFF2-40B4-BE49-F238E27FC236}">
                <a16:creationId xmlns:a16="http://schemas.microsoft.com/office/drawing/2014/main" id="{38C785DE-51CE-F04B-9A35-DFC7BC8E67E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348660236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0A3CC38-9E37-4178-BA9D-CA015776015C}"/>
              </a:ext>
            </a:extLst>
          </p:cNvPr>
          <p:cNvSpPr>
            <a:spLocks noGrp="1"/>
          </p:cNvSpPr>
          <p:nvPr>
            <p:ph idx="1"/>
          </p:nvPr>
        </p:nvSpPr>
        <p:spPr>
          <a:xfrm>
            <a:off x="310896" y="1664208"/>
            <a:ext cx="11595354" cy="4736592"/>
          </a:xfrm>
          <a:prstGeom prst="rect">
            <a:avLst/>
          </a:prstGeom>
        </p:spPr>
        <p:txBody>
          <a:bodyPr/>
          <a:lstStyle>
            <a:lvl1pPr marL="639191" indent="-342900">
              <a:spcBef>
                <a:spcPts val="0"/>
              </a:spcBef>
              <a:spcAft>
                <a:spcPts val="0"/>
              </a:spcAft>
              <a:defRPr lang="en-US" sz="1800" dirty="0" smtClean="0">
                <a:solidFill>
                  <a:schemeClr val="tx1"/>
                </a:solidFill>
                <a:latin typeface="+mn-lt"/>
                <a:ea typeface="+mn-ea"/>
                <a:cs typeface="+mn-cs"/>
              </a:defRPr>
            </a:lvl1pPr>
            <a:lvl2pPr marL="639191" indent="-342900">
              <a:spcBef>
                <a:spcPts val="0"/>
              </a:spcBef>
              <a:spcAft>
                <a:spcPts val="0"/>
              </a:spcAft>
              <a:defRPr lang="en-US" sz="1800" dirty="0" smtClean="0">
                <a:solidFill>
                  <a:schemeClr val="tx1"/>
                </a:solidFill>
                <a:latin typeface="+mn-lt"/>
              </a:defRPr>
            </a:lvl2pPr>
            <a:lvl3pPr marL="639191" indent="-342900">
              <a:spcBef>
                <a:spcPts val="0"/>
              </a:spcBef>
              <a:spcAft>
                <a:spcPts val="0"/>
              </a:spcAft>
              <a:defRPr lang="en-US" sz="1800" dirty="0" smtClean="0">
                <a:solidFill>
                  <a:schemeClr val="tx1"/>
                </a:solidFill>
                <a:latin typeface="+mn-lt"/>
              </a:defRPr>
            </a:lvl3pPr>
            <a:lvl4pPr marL="1222819" indent="-342900">
              <a:spcBef>
                <a:spcPts val="0"/>
              </a:spcBef>
              <a:spcAft>
                <a:spcPts val="0"/>
              </a:spcAft>
              <a:defRPr lang="en-US" sz="1800" dirty="0">
                <a:solidFill>
                  <a:schemeClr val="tx1"/>
                </a:solidFill>
                <a:latin typeface="+mn-lt"/>
              </a:defRPr>
            </a:lvl4pPr>
            <a:lvl5pPr>
              <a:spcBef>
                <a:spcPts val="0"/>
              </a:spcBef>
              <a:spcAft>
                <a:spcPts val="0"/>
              </a:spcAft>
              <a:defRPr/>
            </a:lvl5pPr>
          </a:lstStyle>
          <a:p>
            <a:pPr marL="292608" lvl="0"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Click to edit Master text styles</a:t>
            </a:r>
          </a:p>
          <a:p>
            <a:pPr marL="292608" lvl="1"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Second level</a:t>
            </a:r>
          </a:p>
          <a:p>
            <a:pPr marL="292608" lvl="2"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Third level</a:t>
            </a:r>
          </a:p>
          <a:p>
            <a:pPr marL="292608" lvl="3"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a:t>Fourth level</a:t>
            </a:r>
          </a:p>
        </p:txBody>
      </p:sp>
      <p:sp>
        <p:nvSpPr>
          <p:cNvPr id="5" name="Rectangle 21">
            <a:extLst>
              <a:ext uri="{FF2B5EF4-FFF2-40B4-BE49-F238E27FC236}">
                <a16:creationId xmlns:a16="http://schemas.microsoft.com/office/drawing/2014/main" id="{02B89643-FD35-4903-9EC2-633DF01323A5}"/>
              </a:ext>
            </a:extLst>
          </p:cNvPr>
          <p:cNvSpPr>
            <a:spLocks noGrp="1" noChangeArrowheads="1"/>
          </p:cNvSpPr>
          <p:nvPr>
            <p:ph type="title"/>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endParaRPr lang="en-US" dirty="0"/>
          </a:p>
        </p:txBody>
      </p:sp>
    </p:spTree>
    <p:extLst>
      <p:ext uri="{BB962C8B-B14F-4D97-AF65-F5344CB8AC3E}">
        <p14:creationId xmlns:p14="http://schemas.microsoft.com/office/powerpoint/2010/main" val="1068836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0E58ED6D-7807-4307-9D6F-34E6948B13B0}"/>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 | </a:t>
            </a:r>
            <a:r>
              <a:rPr lang="en-IN" sz="700" dirty="0">
                <a:solidFill>
                  <a:schemeClr val="bg1">
                    <a:lumMod val="65000"/>
                  </a:schemeClr>
                </a:solidFill>
              </a:rPr>
              <a:t>EGR-2022-40-CA-5077</a:t>
            </a:r>
            <a:endParaRPr lang="en-US" sz="700" dirty="0">
              <a:solidFill>
                <a:schemeClr val="bg1">
                  <a:lumMod val="65000"/>
                </a:schemeClr>
              </a:solidFill>
            </a:endParaRPr>
          </a:p>
        </p:txBody>
      </p:sp>
      <p:sp>
        <p:nvSpPr>
          <p:cNvPr id="10" name="Rectangle 32">
            <a:extLst>
              <a:ext uri="{FF2B5EF4-FFF2-40B4-BE49-F238E27FC236}">
                <a16:creationId xmlns:a16="http://schemas.microsoft.com/office/drawing/2014/main" id="{DFE8F415-DA47-424A-8AA1-7F40886AF3B1}"/>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pic>
        <p:nvPicPr>
          <p:cNvPr id="5" name="Graphic 4">
            <a:extLst>
              <a:ext uri="{FF2B5EF4-FFF2-40B4-BE49-F238E27FC236}">
                <a16:creationId xmlns:a16="http://schemas.microsoft.com/office/drawing/2014/main" id="{9FC5CD11-5538-6847-B79A-6CCD00E8129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286447089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Only Footer and Title">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3F4B1E3E-A1FB-459D-9A2B-3267BC9FFBDB}"/>
              </a:ext>
            </a:extLst>
          </p:cNvPr>
          <p:cNvSpPr>
            <a:spLocks noGrp="1" noChangeArrowheads="1"/>
          </p:cNvSpPr>
          <p:nvPr>
            <p:ph type="title" hasCustomPrompt="1"/>
          </p:nvPr>
        </p:nvSpPr>
        <p:spPr bwMode="auto">
          <a:xfrm>
            <a:off x="307975" y="622777"/>
            <a:ext cx="11598275"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b="0">
                <a:latin typeface="+mj-lt"/>
              </a:defRPr>
            </a:lvl1pPr>
          </a:lstStyle>
          <a:p>
            <a:pPr lvl="0"/>
            <a:r>
              <a:rPr lang="en-US" dirty="0"/>
              <a:t>Master title style is 18pt, “Arial Black” font</a:t>
            </a:r>
          </a:p>
        </p:txBody>
      </p:sp>
      <p:sp>
        <p:nvSpPr>
          <p:cNvPr id="6" name="Rectangle 5">
            <a:extLst>
              <a:ext uri="{FF2B5EF4-FFF2-40B4-BE49-F238E27FC236}">
                <a16:creationId xmlns:a16="http://schemas.microsoft.com/office/drawing/2014/main" id="{1B0F89B3-7FF7-40B9-A0AE-6771692D1081}"/>
              </a:ext>
            </a:extLst>
          </p:cNvPr>
          <p:cNvSpPr/>
          <p:nvPr userDrawn="1"/>
        </p:nvSpPr>
        <p:spPr bwMode="auto">
          <a:xfrm>
            <a:off x="0" y="0"/>
            <a:ext cx="161395" cy="1412621"/>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10" name="Slide Number Placeholder 2">
            <a:extLst>
              <a:ext uri="{FF2B5EF4-FFF2-40B4-BE49-F238E27FC236}">
                <a16:creationId xmlns:a16="http://schemas.microsoft.com/office/drawing/2014/main" id="{C24CAE84-458C-4A32-8808-B6BAE4C64345}"/>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 | </a:t>
            </a:r>
            <a:r>
              <a:rPr lang="en-IN" sz="700" dirty="0">
                <a:solidFill>
                  <a:schemeClr val="bg1">
                    <a:lumMod val="65000"/>
                  </a:schemeClr>
                </a:solidFill>
              </a:rPr>
              <a:t>EGR-2022-40-CA-5077</a:t>
            </a:r>
            <a:endParaRPr lang="en-US" sz="700" dirty="0">
              <a:solidFill>
                <a:schemeClr val="bg1">
                  <a:lumMod val="65000"/>
                </a:schemeClr>
              </a:solidFill>
            </a:endParaRPr>
          </a:p>
        </p:txBody>
      </p:sp>
      <p:sp>
        <p:nvSpPr>
          <p:cNvPr id="12" name="Rectangle 32">
            <a:extLst>
              <a:ext uri="{FF2B5EF4-FFF2-40B4-BE49-F238E27FC236}">
                <a16:creationId xmlns:a16="http://schemas.microsoft.com/office/drawing/2014/main" id="{703B4A43-4A6D-41EE-9EFB-71967C2BCF3F}"/>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pic>
        <p:nvPicPr>
          <p:cNvPr id="7" name="Graphic 6">
            <a:extLst>
              <a:ext uri="{FF2B5EF4-FFF2-40B4-BE49-F238E27FC236}">
                <a16:creationId xmlns:a16="http://schemas.microsoft.com/office/drawing/2014/main" id="{89132D8C-3517-3F42-9743-E4889DEDB5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399300375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Only Footer and Title (without page no.)">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3F4B1E3E-A1FB-459D-9A2B-3267BC9FFBDB}"/>
              </a:ext>
            </a:extLst>
          </p:cNvPr>
          <p:cNvSpPr>
            <a:spLocks noGrp="1" noChangeArrowheads="1"/>
          </p:cNvSpPr>
          <p:nvPr>
            <p:ph type="title" hasCustomPrompt="1"/>
          </p:nvPr>
        </p:nvSpPr>
        <p:spPr bwMode="auto">
          <a:xfrm>
            <a:off x="307975" y="622777"/>
            <a:ext cx="11598275"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b="0">
                <a:latin typeface="+mj-lt"/>
              </a:defRPr>
            </a:lvl1pPr>
          </a:lstStyle>
          <a:p>
            <a:pPr lvl="0"/>
            <a:r>
              <a:rPr lang="en-US" dirty="0"/>
              <a:t>Master title style is 18pt, “Arial Black” font</a:t>
            </a:r>
          </a:p>
        </p:txBody>
      </p:sp>
      <p:sp>
        <p:nvSpPr>
          <p:cNvPr id="6" name="Rectangle 5">
            <a:extLst>
              <a:ext uri="{FF2B5EF4-FFF2-40B4-BE49-F238E27FC236}">
                <a16:creationId xmlns:a16="http://schemas.microsoft.com/office/drawing/2014/main" id="{1B0F89B3-7FF7-40B9-A0AE-6771692D1081}"/>
              </a:ext>
            </a:extLst>
          </p:cNvPr>
          <p:cNvSpPr/>
          <p:nvPr userDrawn="1"/>
        </p:nvSpPr>
        <p:spPr bwMode="auto">
          <a:xfrm>
            <a:off x="0" y="0"/>
            <a:ext cx="161395" cy="1412621"/>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10" name="Slide Number Placeholder 2">
            <a:extLst>
              <a:ext uri="{FF2B5EF4-FFF2-40B4-BE49-F238E27FC236}">
                <a16:creationId xmlns:a16="http://schemas.microsoft.com/office/drawing/2014/main" id="{C24CAE84-458C-4A32-8808-B6BAE4C64345}"/>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2, Everest Global, Inc. | </a:t>
            </a:r>
            <a:r>
              <a:rPr lang="en-IN" sz="700" dirty="0">
                <a:solidFill>
                  <a:schemeClr val="bg1">
                    <a:lumMod val="65000"/>
                  </a:schemeClr>
                </a:solidFill>
              </a:rPr>
              <a:t>EGR-2022-40-CA-5077</a:t>
            </a:r>
            <a:endParaRPr lang="en-US" sz="700" dirty="0">
              <a:solidFill>
                <a:schemeClr val="bg1">
                  <a:lumMod val="65000"/>
                </a:schemeClr>
              </a:solidFill>
            </a:endParaRPr>
          </a:p>
        </p:txBody>
      </p:sp>
      <p:pic>
        <p:nvPicPr>
          <p:cNvPr id="7" name="Graphic 6">
            <a:extLst>
              <a:ext uri="{FF2B5EF4-FFF2-40B4-BE49-F238E27FC236}">
                <a16:creationId xmlns:a16="http://schemas.microsoft.com/office/drawing/2014/main" id="{89132D8C-3517-3F42-9743-E4889DEDB5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175654477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ffice Slide">
    <p:spTree>
      <p:nvGrpSpPr>
        <p:cNvPr id="1" name=""/>
        <p:cNvGrpSpPr/>
        <p:nvPr/>
      </p:nvGrpSpPr>
      <p:grpSpPr>
        <a:xfrm>
          <a:off x="0" y="0"/>
          <a:ext cx="0" cy="0"/>
          <a:chOff x="0" y="0"/>
          <a:chExt cx="0" cy="0"/>
        </a:xfrm>
      </p:grpSpPr>
      <p:pic>
        <p:nvPicPr>
          <p:cNvPr id="34" name="Picture 33" descr="A person walking down a sidewalk next to a body of water&#10;&#10;Description automatically generated">
            <a:extLst>
              <a:ext uri="{FF2B5EF4-FFF2-40B4-BE49-F238E27FC236}">
                <a16:creationId xmlns:a16="http://schemas.microsoft.com/office/drawing/2014/main" id="{F2B28AA2-9D3A-944B-ADE8-78A010F895F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2" y="0"/>
            <a:ext cx="3621609" cy="6858000"/>
          </a:xfrm>
          <a:prstGeom prst="rect">
            <a:avLst/>
          </a:prstGeom>
        </p:spPr>
      </p:pic>
      <p:sp>
        <p:nvSpPr>
          <p:cNvPr id="35" name="Rectangle 34">
            <a:extLst>
              <a:ext uri="{FF2B5EF4-FFF2-40B4-BE49-F238E27FC236}">
                <a16:creationId xmlns:a16="http://schemas.microsoft.com/office/drawing/2014/main" id="{F67B4DAF-5092-4449-9287-771A29144BF8}"/>
              </a:ext>
            </a:extLst>
          </p:cNvPr>
          <p:cNvSpPr/>
          <p:nvPr userDrawn="1"/>
        </p:nvSpPr>
        <p:spPr bwMode="auto">
          <a:xfrm>
            <a:off x="3496734" y="0"/>
            <a:ext cx="8695266" cy="6858000"/>
          </a:xfrm>
          <a:prstGeom prst="rect">
            <a:avLst/>
          </a:prstGeom>
          <a:solidFill>
            <a:srgbClr val="003A69"/>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36" name="Rectangle 35">
            <a:extLst>
              <a:ext uri="{FF2B5EF4-FFF2-40B4-BE49-F238E27FC236}">
                <a16:creationId xmlns:a16="http://schemas.microsoft.com/office/drawing/2014/main" id="{D690F4EE-D505-464E-86C9-D92A726D800D}"/>
              </a:ext>
            </a:extLst>
          </p:cNvPr>
          <p:cNvSpPr/>
          <p:nvPr userDrawn="1"/>
        </p:nvSpPr>
        <p:spPr>
          <a:xfrm>
            <a:off x="4004897" y="6054923"/>
            <a:ext cx="7809738" cy="307777"/>
          </a:xfrm>
          <a:prstGeom prst="rect">
            <a:avLst/>
          </a:prstGeom>
        </p:spPr>
        <p:txBody>
          <a:bodyPr wrap="square" lIns="0" tIns="0" rIns="0" bIns="0">
            <a:spAutoFit/>
          </a:bodyPr>
          <a:lstStyle/>
          <a:p>
            <a:pPr marL="0" lvl="1" indent="0" algn="l">
              <a:lnSpc>
                <a:spcPts val="751"/>
              </a:lnSpc>
              <a:spcAft>
                <a:spcPts val="0"/>
              </a:spcAft>
              <a:buNone/>
              <a:defRPr/>
            </a:pPr>
            <a:r>
              <a:rPr lang="en-US" sz="701" i="1" dirty="0">
                <a:solidFill>
                  <a:schemeClr val="accent4"/>
                </a:solidFill>
              </a:rPr>
              <a:t>This document is for informational purposes only, and it is being provided “as is” and “as available” without any warranty of any kind, including any warranties of completeness, adequacy, or fitness for a particular purpose. Everest Group is not a legal or investment adviser; the contents of this document should not be construed as legal, tax, or investment advice. This document should not be used as a substitute for consultation with professional advisors, and Everest Group disclaims liability for any actions or decisions not to act that are taken as a result of any material in this publication.</a:t>
            </a:r>
          </a:p>
        </p:txBody>
      </p:sp>
      <p:sp>
        <p:nvSpPr>
          <p:cNvPr id="37" name="Rectangle 36">
            <a:extLst>
              <a:ext uri="{FF2B5EF4-FFF2-40B4-BE49-F238E27FC236}">
                <a16:creationId xmlns:a16="http://schemas.microsoft.com/office/drawing/2014/main" id="{7FD6F52A-676A-6645-ACC2-D56D3D3F9A85}"/>
              </a:ext>
            </a:extLst>
          </p:cNvPr>
          <p:cNvSpPr/>
          <p:nvPr userDrawn="1"/>
        </p:nvSpPr>
        <p:spPr>
          <a:xfrm>
            <a:off x="7118343" y="3062978"/>
            <a:ext cx="2473806" cy="195438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Dallas (Headquarters)</a:t>
            </a:r>
            <a:endParaRPr kumimoji="0" lang="en-GB" sz="1100" b="0"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info@everestgrp.com</a:t>
            </a: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1-214-451-3000</a:t>
            </a: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Bangalore</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india@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91-80-61463500 </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Delhi</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india@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91-124-496-1000</a:t>
            </a:r>
          </a:p>
        </p:txBody>
      </p:sp>
      <p:cxnSp>
        <p:nvCxnSpPr>
          <p:cNvPr id="38" name="Straight Connector 37">
            <a:extLst>
              <a:ext uri="{FF2B5EF4-FFF2-40B4-BE49-F238E27FC236}">
                <a16:creationId xmlns:a16="http://schemas.microsoft.com/office/drawing/2014/main" id="{0E3324ED-875C-8646-89AE-E3149CD639CB}"/>
              </a:ext>
            </a:extLst>
          </p:cNvPr>
          <p:cNvCxnSpPr>
            <a:cxnSpLocks/>
          </p:cNvCxnSpPr>
          <p:nvPr userDrawn="1"/>
        </p:nvCxnSpPr>
        <p:spPr bwMode="auto">
          <a:xfrm>
            <a:off x="6553578" y="3062978"/>
            <a:ext cx="0" cy="2118603"/>
          </a:xfrm>
          <a:prstGeom prst="line">
            <a:avLst/>
          </a:prstGeom>
          <a:noFill/>
          <a:ln w="9525" cap="flat" cmpd="sng" algn="ctr">
            <a:solidFill>
              <a:schemeClr val="accent5"/>
            </a:solidFill>
            <a:prstDash val="solid"/>
            <a:round/>
            <a:headEnd type="none" w="med" len="med"/>
            <a:tailEnd type="none" w="med" len="med"/>
          </a:ln>
          <a:effectLst/>
        </p:spPr>
      </p:cxnSp>
      <p:sp>
        <p:nvSpPr>
          <p:cNvPr id="40" name="Rectangle 39">
            <a:extLst>
              <a:ext uri="{FF2B5EF4-FFF2-40B4-BE49-F238E27FC236}">
                <a16:creationId xmlns:a16="http://schemas.microsoft.com/office/drawing/2014/main" id="{37199E8A-CDC5-3741-8908-4533021E8507}"/>
              </a:ext>
            </a:extLst>
          </p:cNvPr>
          <p:cNvSpPr/>
          <p:nvPr userDrawn="1"/>
        </p:nvSpPr>
        <p:spPr>
          <a:xfrm>
            <a:off x="9362298" y="3062978"/>
            <a:ext cx="2239530" cy="127727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London</a:t>
            </a:r>
            <a:endParaRPr kumimoji="0" lang="en-US" sz="1100" b="0"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unitedkingdom@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44-207-129-1318</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Toronto</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canada@everestgrp.com</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1-647-557-3475</a:t>
            </a:r>
          </a:p>
        </p:txBody>
      </p:sp>
      <p:sp>
        <p:nvSpPr>
          <p:cNvPr id="41" name="Rectangle 40">
            <a:hlinkClick r:id="rId3"/>
            <a:extLst>
              <a:ext uri="{FF2B5EF4-FFF2-40B4-BE49-F238E27FC236}">
                <a16:creationId xmlns:a16="http://schemas.microsoft.com/office/drawing/2014/main" id="{020DD033-02B5-B448-A212-58E6D60E7959}"/>
              </a:ext>
            </a:extLst>
          </p:cNvPr>
          <p:cNvSpPr/>
          <p:nvPr userDrawn="1"/>
        </p:nvSpPr>
        <p:spPr bwMode="auto">
          <a:xfrm>
            <a:off x="7161898" y="3104712"/>
            <a:ext cx="1525280"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3" name="Rectangle 42">
            <a:hlinkClick r:id="rId4"/>
            <a:extLst>
              <a:ext uri="{FF2B5EF4-FFF2-40B4-BE49-F238E27FC236}">
                <a16:creationId xmlns:a16="http://schemas.microsoft.com/office/drawing/2014/main" id="{47F6667F-4668-E049-BB62-B15FB4C1EF1F}"/>
              </a:ext>
            </a:extLst>
          </p:cNvPr>
          <p:cNvSpPr/>
          <p:nvPr userDrawn="1"/>
        </p:nvSpPr>
        <p:spPr bwMode="auto">
          <a:xfrm>
            <a:off x="7161898" y="3782980"/>
            <a:ext cx="1527048"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4" name="Rectangle 43">
            <a:hlinkClick r:id="rId4"/>
            <a:extLst>
              <a:ext uri="{FF2B5EF4-FFF2-40B4-BE49-F238E27FC236}">
                <a16:creationId xmlns:a16="http://schemas.microsoft.com/office/drawing/2014/main" id="{81C459B1-1F62-3D4D-9492-CB5B944A2B0E}"/>
              </a:ext>
            </a:extLst>
          </p:cNvPr>
          <p:cNvSpPr/>
          <p:nvPr userDrawn="1"/>
        </p:nvSpPr>
        <p:spPr bwMode="auto">
          <a:xfrm>
            <a:off x="7161898" y="4445000"/>
            <a:ext cx="1527048"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45" name="Rectangle 44">
            <a:hlinkClick r:id="rId5"/>
            <a:extLst>
              <a:ext uri="{FF2B5EF4-FFF2-40B4-BE49-F238E27FC236}">
                <a16:creationId xmlns:a16="http://schemas.microsoft.com/office/drawing/2014/main" id="{4D40A79D-41E4-9D41-86C1-7084DF8C609A}"/>
              </a:ext>
            </a:extLst>
          </p:cNvPr>
          <p:cNvSpPr/>
          <p:nvPr userDrawn="1"/>
        </p:nvSpPr>
        <p:spPr bwMode="auto">
          <a:xfrm>
            <a:off x="9413780" y="3104712"/>
            <a:ext cx="2066926"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51" name="Rectangle 50">
            <a:hlinkClick r:id="rId6"/>
            <a:extLst>
              <a:ext uri="{FF2B5EF4-FFF2-40B4-BE49-F238E27FC236}">
                <a16:creationId xmlns:a16="http://schemas.microsoft.com/office/drawing/2014/main" id="{15D171CE-CC79-9B4D-BBE7-41C619F12B93}"/>
              </a:ext>
            </a:extLst>
          </p:cNvPr>
          <p:cNvSpPr/>
          <p:nvPr userDrawn="1"/>
        </p:nvSpPr>
        <p:spPr bwMode="auto">
          <a:xfrm>
            <a:off x="9413780" y="3764280"/>
            <a:ext cx="1649996"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dirty="0">
              <a:ln>
                <a:noFill/>
              </a:ln>
              <a:solidFill>
                <a:schemeClr val="tx1"/>
              </a:solidFill>
              <a:effectLst/>
              <a:latin typeface="Arial" charset="0"/>
            </a:endParaRPr>
          </a:p>
        </p:txBody>
      </p:sp>
      <p:sp>
        <p:nvSpPr>
          <p:cNvPr id="52" name="Rectangle 51">
            <a:extLst>
              <a:ext uri="{FF2B5EF4-FFF2-40B4-BE49-F238E27FC236}">
                <a16:creationId xmlns:a16="http://schemas.microsoft.com/office/drawing/2014/main" id="{F3A10E4C-B223-B546-9D97-DFDA9A19D56E}"/>
              </a:ext>
            </a:extLst>
          </p:cNvPr>
          <p:cNvSpPr/>
          <p:nvPr userDrawn="1"/>
        </p:nvSpPr>
        <p:spPr>
          <a:xfrm>
            <a:off x="4004897" y="1549827"/>
            <a:ext cx="7891828" cy="938719"/>
          </a:xfrm>
          <a:prstGeom prst="rect">
            <a:avLst/>
          </a:prstGeom>
        </p:spPr>
        <p:txBody>
          <a:bodyPr wrap="square" lIns="0" rIns="0">
            <a:spAutoFit/>
          </a:bodyPr>
          <a:lstStyle/>
          <a:p>
            <a:pPr marL="0" lvl="0" indent="0">
              <a:buNone/>
            </a:pPr>
            <a:r>
              <a:rPr lang="en-US" sz="1100" dirty="0">
                <a:solidFill>
                  <a:schemeClr val="bg1"/>
                </a:solidFill>
              </a:rPr>
              <a:t>Everest Group is a research firm focused on strategic IT, business services, engineering services, and sourcing. Our research also covers the technologies that power those processes and functions and the related talent trends and strategies. Our clients include leading global companies, service and technology providers, and investors. Clients use our services to guide their journeys to maximize operational and financial performance, transform experiences, and realize high-impact business outcomes. Details and in-depth content are available at </a:t>
            </a:r>
            <a:r>
              <a:rPr lang="en-US" sz="1100" b="1" dirty="0">
                <a:solidFill>
                  <a:schemeClr val="bg1"/>
                </a:solidFill>
              </a:rPr>
              <a:t>www.everestgrp.com</a:t>
            </a:r>
            <a:r>
              <a:rPr lang="en-US" sz="1100" dirty="0">
                <a:solidFill>
                  <a:schemeClr val="bg1"/>
                </a:solidFill>
              </a:rPr>
              <a:t>.</a:t>
            </a:r>
            <a:endParaRPr lang="en-US" sz="1100" u="none" dirty="0">
              <a:solidFill>
                <a:schemeClr val="bg1"/>
              </a:solidFill>
            </a:endParaRPr>
          </a:p>
        </p:txBody>
      </p:sp>
      <p:sp>
        <p:nvSpPr>
          <p:cNvPr id="53" name="Rectangle 52">
            <a:extLst>
              <a:ext uri="{FF2B5EF4-FFF2-40B4-BE49-F238E27FC236}">
                <a16:creationId xmlns:a16="http://schemas.microsoft.com/office/drawing/2014/main" id="{72508BF0-B0DB-B14D-AB30-5E444FA9649E}"/>
              </a:ext>
            </a:extLst>
          </p:cNvPr>
          <p:cNvSpPr/>
          <p:nvPr userDrawn="1"/>
        </p:nvSpPr>
        <p:spPr>
          <a:xfrm>
            <a:off x="3919172" y="2608840"/>
            <a:ext cx="1699504" cy="338554"/>
          </a:xfrm>
          <a:prstGeom prst="rect">
            <a:avLst/>
          </a:prstGeom>
        </p:spPr>
        <p:txBody>
          <a:bodyPr wrap="none">
            <a:spAutoFit/>
          </a:bodyPr>
          <a:lstStyle/>
          <a:p>
            <a:r>
              <a:rPr lang="en-GB" b="1" dirty="0">
                <a:solidFill>
                  <a:srgbClr val="FFFFFF"/>
                </a:solidFill>
                <a:latin typeface="Arial" panose="020B0604020202020204" pitchFamily="34" charset="0"/>
                <a:cs typeface="Arial" panose="020B0604020202020204" pitchFamily="34" charset="0"/>
              </a:rPr>
              <a:t>Stay </a:t>
            </a:r>
            <a:r>
              <a:rPr kumimoji="0" lang="en-GB" b="1"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nnected</a:t>
            </a:r>
            <a:endParaRPr lang="en-US" b="1" baseline="0" dirty="0">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701E657C-56EE-DB45-89FC-276FD5062C84}"/>
              </a:ext>
            </a:extLst>
          </p:cNvPr>
          <p:cNvSpPr/>
          <p:nvPr userDrawn="1"/>
        </p:nvSpPr>
        <p:spPr>
          <a:xfrm>
            <a:off x="3919172" y="3066153"/>
            <a:ext cx="2225414" cy="215751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Website</a:t>
            </a:r>
            <a:endParaRPr kumimoji="0" lang="en-GB" sz="1100" b="0"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everestgrp.com</a:t>
            </a:r>
          </a:p>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endPar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Social Media</a:t>
            </a:r>
          </a:p>
          <a:p>
            <a:pPr marL="0" marR="0" lvl="0" indent="0" defTabSz="914400" rtl="0" eaLnBrk="1" fontAlgn="base" latinLnBrk="0" hangingPunct="1">
              <a:lnSpc>
                <a:spcPct val="130000"/>
              </a:lnSpc>
              <a:spcBef>
                <a:spcPct val="0"/>
              </a:spcBef>
              <a:spcAft>
                <a:spcPct val="0"/>
              </a:spcAft>
              <a:buClr>
                <a:srgbClr val="3333FF"/>
              </a:buClr>
              <a:buSzPct val="60000"/>
              <a:buFontTx/>
              <a:buNone/>
              <a:tabLst>
                <a:tab pos="227013"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	</a:t>
            </a: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a:t>
            </a:r>
            <a:r>
              <a:rPr lang="en-US" sz="1100" dirty="0">
                <a:solidFill>
                  <a:srgbClr val="FFFFFF"/>
                </a:solidFill>
              </a:rPr>
              <a:t>E</a:t>
            </a:r>
            <a:r>
              <a:rPr kumimoji="0" lang="en-US" sz="1100" b="0" i="0" u="none" strike="noStrike" kern="1200" cap="none" spc="0" normalizeH="0" baseline="0" noProof="0" dirty="0" err="1">
                <a:ln>
                  <a:noFill/>
                </a:ln>
                <a:solidFill>
                  <a:srgbClr val="FFFFFF"/>
                </a:solidFill>
                <a:effectLst/>
                <a:uLnTx/>
                <a:uFillTx/>
                <a:latin typeface="Arial" charset="0"/>
                <a:ea typeface="+mn-ea"/>
                <a:cs typeface="Arial" charset="0"/>
              </a:rPr>
              <a:t>verestGroup</a:t>
            </a:r>
            <a:endParaRPr lang="en-US" sz="1100" dirty="0">
              <a:solidFill>
                <a:srgbClr val="FFFFFF"/>
              </a:solidFill>
            </a:endParaRPr>
          </a:p>
          <a:p>
            <a:pPr lvl="0">
              <a:lnSpc>
                <a:spcPct val="130000"/>
              </a:lnSpc>
              <a:buClr>
                <a:srgbClr val="3333FF"/>
              </a:buClr>
              <a:buSzPct val="60000"/>
              <a:tabLst>
                <a:tab pos="227013"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r>
              <a:rPr lang="en-US" sz="1100" dirty="0">
                <a:solidFill>
                  <a:srgbClr val="FFFFFF"/>
                </a:solidFill>
              </a:rPr>
              <a:t>Everest Group</a:t>
            </a:r>
          </a:p>
          <a:p>
            <a:pPr lvl="0">
              <a:lnSpc>
                <a:spcPct val="130000"/>
              </a:lnSpc>
              <a:buClr>
                <a:srgbClr val="3333FF"/>
              </a:buClr>
              <a:buSzPct val="60000"/>
              <a:tabLst>
                <a:tab pos="227013" algn="l"/>
              </a:tabLst>
              <a:defRPr/>
            </a:pP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	@</a:t>
            </a:r>
            <a:r>
              <a:rPr lang="en-US" sz="1100" dirty="0">
                <a:solidFill>
                  <a:srgbClr val="FFFFFF"/>
                </a:solidFill>
              </a:rPr>
              <a:t>Everest Group</a:t>
            </a:r>
          </a:p>
          <a:p>
            <a:pPr>
              <a:lnSpc>
                <a:spcPct val="130000"/>
              </a:lnSpc>
              <a:buClr>
                <a:srgbClr val="3333FF"/>
              </a:buClr>
              <a:buSzPct val="60000"/>
              <a:tabLst>
                <a:tab pos="227013" algn="l"/>
              </a:tabLst>
              <a:defRPr/>
            </a:pPr>
            <a:r>
              <a:rPr lang="en-US" sz="1100" dirty="0">
                <a:solidFill>
                  <a:srgbClr val="FFFFFF"/>
                </a:solidFill>
              </a:rPr>
              <a:t>  	@Everest Group</a:t>
            </a:r>
          </a:p>
          <a:p>
            <a:pPr lvl="0">
              <a:buClr>
                <a:srgbClr val="3333FF"/>
              </a:buClr>
              <a:buSzPct val="60000"/>
              <a:tabLst>
                <a:tab pos="171450" algn="l"/>
              </a:tabLst>
              <a:defRPr/>
            </a:pPr>
            <a:endParaRPr kumimoji="0" lang="en-US" sz="11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dirty="0">
                <a:ln>
                  <a:noFill/>
                </a:ln>
                <a:solidFill>
                  <a:srgbClr val="005A8C">
                    <a:lumMod val="40000"/>
                    <a:lumOff val="60000"/>
                  </a:srgbClr>
                </a:solidFill>
                <a:effectLst/>
                <a:uLnTx/>
                <a:uFillTx/>
                <a:latin typeface="Arial" charset="0"/>
                <a:ea typeface="+mn-ea"/>
                <a:cs typeface="Arial" charset="0"/>
              </a:rPr>
              <a:t>Blog</a:t>
            </a: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GB" sz="1100" b="0" i="0" u="none" strike="noStrike" kern="1200" cap="none" spc="0" normalizeH="0" baseline="0" noProof="0" dirty="0" err="1">
                <a:ln>
                  <a:noFill/>
                </a:ln>
                <a:solidFill>
                  <a:srgbClr val="FFFFFF"/>
                </a:solidFill>
                <a:effectLst/>
                <a:uLnTx/>
                <a:uFillTx/>
                <a:latin typeface="Arial" charset="0"/>
                <a:ea typeface="+mn-ea"/>
                <a:cs typeface="Arial" charset="0"/>
              </a:rPr>
              <a:t>everestgrp</a:t>
            </a:r>
            <a:r>
              <a:rPr kumimoji="0" lang="en-GB" sz="1100" b="0" i="0" u="none" strike="noStrike" kern="1200" cap="none" spc="0" normalizeH="0" baseline="0" noProof="0" dirty="0">
                <a:ln>
                  <a:noFill/>
                </a:ln>
                <a:solidFill>
                  <a:srgbClr val="FFFFFF"/>
                </a:solidFill>
                <a:effectLst/>
                <a:uLnTx/>
                <a:uFillTx/>
                <a:latin typeface="Arial" charset="0"/>
                <a:ea typeface="+mn-ea"/>
                <a:cs typeface="Arial" charset="0"/>
              </a:rPr>
              <a:t>.</a:t>
            </a:r>
            <a:r>
              <a:rPr kumimoji="0" lang="en-US" sz="1100" b="0" i="0" u="none" strike="noStrike" kern="1200" cap="none" spc="0" normalizeH="0" baseline="0" noProof="0" dirty="0">
                <a:ln>
                  <a:noFill/>
                </a:ln>
                <a:solidFill>
                  <a:srgbClr val="FFFFFF"/>
                </a:solidFill>
                <a:effectLst/>
                <a:uLnTx/>
                <a:uFillTx/>
                <a:latin typeface="Arial" charset="0"/>
                <a:ea typeface="+mn-ea"/>
                <a:cs typeface="Arial" charset="0"/>
              </a:rPr>
              <a:t>com/blog</a:t>
            </a:r>
          </a:p>
        </p:txBody>
      </p:sp>
      <p:sp>
        <p:nvSpPr>
          <p:cNvPr id="55" name="Rectangle 54">
            <a:hlinkClick r:id="rId7"/>
            <a:extLst>
              <a:ext uri="{FF2B5EF4-FFF2-40B4-BE49-F238E27FC236}">
                <a16:creationId xmlns:a16="http://schemas.microsoft.com/office/drawing/2014/main" id="{32048E40-C1C8-5443-AA0B-41235EEBDB7C}"/>
              </a:ext>
            </a:extLst>
          </p:cNvPr>
          <p:cNvSpPr/>
          <p:nvPr userDrawn="1"/>
        </p:nvSpPr>
        <p:spPr bwMode="auto">
          <a:xfrm>
            <a:off x="3952875" y="3107887"/>
            <a:ext cx="1066800"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56" name="Rectangle 55">
            <a:hlinkClick r:id="rId8"/>
            <a:extLst>
              <a:ext uri="{FF2B5EF4-FFF2-40B4-BE49-F238E27FC236}">
                <a16:creationId xmlns:a16="http://schemas.microsoft.com/office/drawing/2014/main" id="{1196FC80-DB44-AF4D-A64A-27C5AAEB6641}"/>
              </a:ext>
            </a:extLst>
          </p:cNvPr>
          <p:cNvSpPr/>
          <p:nvPr userDrawn="1"/>
        </p:nvSpPr>
        <p:spPr bwMode="auto">
          <a:xfrm>
            <a:off x="3952874" y="4834924"/>
            <a:ext cx="1362075"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57" name="Rectangle 56">
            <a:hlinkClick r:id="rId9"/>
            <a:extLst>
              <a:ext uri="{FF2B5EF4-FFF2-40B4-BE49-F238E27FC236}">
                <a16:creationId xmlns:a16="http://schemas.microsoft.com/office/drawing/2014/main" id="{1015F8B1-CEFD-0D4F-9963-A1B8269D9271}"/>
              </a:ext>
            </a:extLst>
          </p:cNvPr>
          <p:cNvSpPr/>
          <p:nvPr userDrawn="1"/>
        </p:nvSpPr>
        <p:spPr bwMode="auto">
          <a:xfrm>
            <a:off x="3983490" y="4479131"/>
            <a:ext cx="1325880"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64" name="Rectangle 63">
            <a:hlinkClick r:id="rId10"/>
            <a:extLst>
              <a:ext uri="{FF2B5EF4-FFF2-40B4-BE49-F238E27FC236}">
                <a16:creationId xmlns:a16="http://schemas.microsoft.com/office/drawing/2014/main" id="{C249DB12-2832-8941-A2BC-0428CB3D00DC}"/>
              </a:ext>
            </a:extLst>
          </p:cNvPr>
          <p:cNvSpPr/>
          <p:nvPr userDrawn="1"/>
        </p:nvSpPr>
        <p:spPr bwMode="auto">
          <a:xfrm>
            <a:off x="3983490" y="4040981"/>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pic>
        <p:nvPicPr>
          <p:cNvPr id="67" name="Graphic 66">
            <a:extLst>
              <a:ext uri="{FF2B5EF4-FFF2-40B4-BE49-F238E27FC236}">
                <a16:creationId xmlns:a16="http://schemas.microsoft.com/office/drawing/2014/main" id="{C655B676-4477-074F-B034-DF8362D7492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4005358" y="3812380"/>
            <a:ext cx="183261" cy="183261"/>
          </a:xfrm>
          <a:prstGeom prst="rect">
            <a:avLst/>
          </a:prstGeom>
        </p:spPr>
      </p:pic>
      <p:sp>
        <p:nvSpPr>
          <p:cNvPr id="68" name="Rectangle 67">
            <a:hlinkClick r:id="rId13"/>
            <a:extLst>
              <a:ext uri="{FF2B5EF4-FFF2-40B4-BE49-F238E27FC236}">
                <a16:creationId xmlns:a16="http://schemas.microsoft.com/office/drawing/2014/main" id="{5D3DB39F-47E3-324F-A95F-6D1980BEC87F}"/>
              </a:ext>
            </a:extLst>
          </p:cNvPr>
          <p:cNvSpPr/>
          <p:nvPr userDrawn="1"/>
        </p:nvSpPr>
        <p:spPr bwMode="auto">
          <a:xfrm>
            <a:off x="3983490" y="3821906"/>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pic>
        <p:nvPicPr>
          <p:cNvPr id="69" name="Graphic 68">
            <a:extLst>
              <a:ext uri="{FF2B5EF4-FFF2-40B4-BE49-F238E27FC236}">
                <a16:creationId xmlns:a16="http://schemas.microsoft.com/office/drawing/2014/main" id="{91A92EC5-FD24-9240-8014-45AA2CDDF3C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993339" y="4019550"/>
            <a:ext cx="209549" cy="209549"/>
          </a:xfrm>
          <a:prstGeom prst="rect">
            <a:avLst/>
          </a:prstGeom>
        </p:spPr>
      </p:pic>
      <p:pic>
        <p:nvPicPr>
          <p:cNvPr id="70" name="Graphic 69">
            <a:extLst>
              <a:ext uri="{FF2B5EF4-FFF2-40B4-BE49-F238E27FC236}">
                <a16:creationId xmlns:a16="http://schemas.microsoft.com/office/drawing/2014/main" id="{FFEE200C-2D66-5E46-B1E5-0274554E461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17169" y="4265772"/>
            <a:ext cx="164306" cy="164306"/>
          </a:xfrm>
          <a:prstGeom prst="rect">
            <a:avLst/>
          </a:prstGeom>
        </p:spPr>
      </p:pic>
      <p:sp>
        <p:nvSpPr>
          <p:cNvPr id="73" name="Rectangle 72">
            <a:hlinkClick r:id="rId18"/>
            <a:extLst>
              <a:ext uri="{FF2B5EF4-FFF2-40B4-BE49-F238E27FC236}">
                <a16:creationId xmlns:a16="http://schemas.microsoft.com/office/drawing/2014/main" id="{722687BD-4ABB-4B4A-9F41-1F509BDD8E7F}"/>
              </a:ext>
            </a:extLst>
          </p:cNvPr>
          <p:cNvSpPr/>
          <p:nvPr userDrawn="1"/>
        </p:nvSpPr>
        <p:spPr bwMode="auto">
          <a:xfrm>
            <a:off x="3983490" y="4260056"/>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pic>
        <p:nvPicPr>
          <p:cNvPr id="75" name="Graphic 74">
            <a:extLst>
              <a:ext uri="{FF2B5EF4-FFF2-40B4-BE49-F238E27FC236}">
                <a16:creationId xmlns:a16="http://schemas.microsoft.com/office/drawing/2014/main" id="{1EC4E5BE-4BD5-8D42-867A-F4D2FDA98DE4}"/>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4019550" y="4478306"/>
            <a:ext cx="164306" cy="164306"/>
          </a:xfrm>
          <a:prstGeom prst="rect">
            <a:avLst/>
          </a:prstGeom>
        </p:spPr>
      </p:pic>
      <p:pic>
        <p:nvPicPr>
          <p:cNvPr id="77" name="Graphic 76">
            <a:extLst>
              <a:ext uri="{FF2B5EF4-FFF2-40B4-BE49-F238E27FC236}">
                <a16:creationId xmlns:a16="http://schemas.microsoft.com/office/drawing/2014/main" id="{CFCED573-F066-3746-A68C-0D9489B78DE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574257" y="416719"/>
            <a:ext cx="2101437" cy="919771"/>
          </a:xfrm>
          <a:prstGeom prst="rect">
            <a:avLst/>
          </a:prstGeom>
        </p:spPr>
      </p:pic>
      <p:sp>
        <p:nvSpPr>
          <p:cNvPr id="78" name="Rectangle 77">
            <a:hlinkClick r:id="rId7"/>
            <a:extLst>
              <a:ext uri="{FF2B5EF4-FFF2-40B4-BE49-F238E27FC236}">
                <a16:creationId xmlns:a16="http://schemas.microsoft.com/office/drawing/2014/main" id="{58557211-CAA8-C446-95EE-71D60631FC77}"/>
              </a:ext>
            </a:extLst>
          </p:cNvPr>
          <p:cNvSpPr/>
          <p:nvPr userDrawn="1"/>
        </p:nvSpPr>
        <p:spPr bwMode="auto">
          <a:xfrm>
            <a:off x="7421978" y="2265710"/>
            <a:ext cx="1473200" cy="21348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25661015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5" imgW="216" imgH="216" progId="TCLayout.ActiveDocument.1">
                  <p:embed/>
                </p:oleObj>
              </mc:Choice>
              <mc:Fallback>
                <p:oleObj name="think-cell Slide" r:id="rId15" imgW="216" imgH="216" progId="TCLayout.ActiveDocument.1">
                  <p:embed/>
                  <p:pic>
                    <p:nvPicPr>
                      <p:cNvPr id="3" name="Object 2" hidden="1"/>
                      <p:cNvPicPr/>
                      <p:nvPr/>
                    </p:nvPicPr>
                    <p:blipFill>
                      <a:blip r:embed="rId16"/>
                      <a:stretch>
                        <a:fillRect/>
                      </a:stretch>
                    </p:blipFill>
                    <p:spPr>
                      <a:xfrm>
                        <a:off x="1591" y="1594"/>
                        <a:ext cx="1587" cy="1587"/>
                      </a:xfrm>
                      <a:prstGeom prst="rect">
                        <a:avLst/>
                      </a:prstGeom>
                    </p:spPr>
                  </p:pic>
                </p:oleObj>
              </mc:Fallback>
            </mc:AlternateContent>
          </a:graphicData>
        </a:graphic>
      </p:graphicFrame>
      <p:sp>
        <p:nvSpPr>
          <p:cNvPr id="18" name="Slide Number Placeholder 2">
            <a:extLst>
              <a:ext uri="{FF2B5EF4-FFF2-40B4-BE49-F238E27FC236}">
                <a16:creationId xmlns:a16="http://schemas.microsoft.com/office/drawing/2014/main" id="{1D16FCDF-3375-46BB-91AD-1FE9E1A5D591}"/>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700" dirty="0">
                <a:solidFill>
                  <a:schemeClr val="bg1">
                    <a:lumMod val="65000"/>
                  </a:schemeClr>
                </a:solidFill>
              </a:rPr>
              <a:t>Proprietary &amp; Confidential. © 2022,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2-40-CA-5077</a:t>
            </a:r>
          </a:p>
        </p:txBody>
      </p:sp>
      <p:sp>
        <p:nvSpPr>
          <p:cNvPr id="27" name="Rectangle 21">
            <a:extLst>
              <a:ext uri="{FF2B5EF4-FFF2-40B4-BE49-F238E27FC236}">
                <a16:creationId xmlns:a16="http://schemas.microsoft.com/office/drawing/2014/main" id="{2DDEC6A6-5FD2-46B6-BDBD-88ED631CB867}"/>
              </a:ext>
            </a:extLst>
          </p:cNvPr>
          <p:cNvSpPr txBox="1">
            <a:spLocks noChangeArrowheads="1"/>
          </p:cNvSpPr>
          <p:nvPr userDrawn="1"/>
        </p:nvSpPr>
        <p:spPr bwMode="auto">
          <a:xfrm>
            <a:off x="307975" y="305294"/>
            <a:ext cx="11612880" cy="1615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n-US" sz="1800" b="1" smtClean="0">
                <a:solidFill>
                  <a:schemeClr val="accent2"/>
                </a:solidFill>
                <a:latin typeface="+mn-lt"/>
                <a:ea typeface="+mj-ea"/>
                <a:cs typeface="+mj-cs"/>
              </a:defRPr>
            </a:lvl1pPr>
            <a:lvl2pPr algn="l" rtl="0" eaLnBrk="1" fontAlgn="base" hangingPunct="1">
              <a:spcBef>
                <a:spcPct val="0"/>
              </a:spcBef>
              <a:spcAft>
                <a:spcPct val="0"/>
              </a:spcAft>
              <a:defRPr sz="2002">
                <a:solidFill>
                  <a:srgbClr val="3333FF"/>
                </a:solidFill>
                <a:latin typeface="Arial Black" pitchFamily="34" charset="0"/>
              </a:defRPr>
            </a:lvl2pPr>
            <a:lvl3pPr algn="l" rtl="0" eaLnBrk="1" fontAlgn="base" hangingPunct="1">
              <a:spcBef>
                <a:spcPct val="0"/>
              </a:spcBef>
              <a:spcAft>
                <a:spcPct val="0"/>
              </a:spcAft>
              <a:defRPr sz="2002">
                <a:solidFill>
                  <a:srgbClr val="3333FF"/>
                </a:solidFill>
                <a:latin typeface="Arial Black" pitchFamily="34" charset="0"/>
              </a:defRPr>
            </a:lvl3pPr>
            <a:lvl4pPr algn="l" rtl="0" eaLnBrk="1" fontAlgn="base" hangingPunct="1">
              <a:spcBef>
                <a:spcPct val="0"/>
              </a:spcBef>
              <a:spcAft>
                <a:spcPct val="0"/>
              </a:spcAft>
              <a:defRPr sz="2002">
                <a:solidFill>
                  <a:srgbClr val="3333FF"/>
                </a:solidFill>
                <a:latin typeface="Arial Black" pitchFamily="34" charset="0"/>
              </a:defRPr>
            </a:lvl4pPr>
            <a:lvl5pPr algn="l" rtl="0" eaLnBrk="1" fontAlgn="base" hangingPunct="1">
              <a:spcBef>
                <a:spcPct val="0"/>
              </a:spcBef>
              <a:spcAft>
                <a:spcPct val="0"/>
              </a:spcAft>
              <a:defRPr sz="2002">
                <a:solidFill>
                  <a:srgbClr val="3333FF"/>
                </a:solidFill>
                <a:latin typeface="Arial Black" pitchFamily="34" charset="0"/>
              </a:defRPr>
            </a:lvl5pPr>
            <a:lvl6pPr marL="457686" algn="l" rtl="0" eaLnBrk="1" fontAlgn="base" hangingPunct="1">
              <a:spcBef>
                <a:spcPct val="0"/>
              </a:spcBef>
              <a:spcAft>
                <a:spcPct val="0"/>
              </a:spcAft>
              <a:defRPr sz="2002">
                <a:solidFill>
                  <a:srgbClr val="3333FF"/>
                </a:solidFill>
                <a:latin typeface="Arial Black" pitchFamily="34" charset="0"/>
              </a:defRPr>
            </a:lvl6pPr>
            <a:lvl7pPr marL="915373" algn="l" rtl="0" eaLnBrk="1" fontAlgn="base" hangingPunct="1">
              <a:spcBef>
                <a:spcPct val="0"/>
              </a:spcBef>
              <a:spcAft>
                <a:spcPct val="0"/>
              </a:spcAft>
              <a:defRPr sz="2002">
                <a:solidFill>
                  <a:srgbClr val="3333FF"/>
                </a:solidFill>
                <a:latin typeface="Arial Black" pitchFamily="34" charset="0"/>
              </a:defRPr>
            </a:lvl7pPr>
            <a:lvl8pPr marL="1373061" algn="l" rtl="0" eaLnBrk="1" fontAlgn="base" hangingPunct="1">
              <a:spcBef>
                <a:spcPct val="0"/>
              </a:spcBef>
              <a:spcAft>
                <a:spcPct val="0"/>
              </a:spcAft>
              <a:defRPr sz="2002">
                <a:solidFill>
                  <a:srgbClr val="3333FF"/>
                </a:solidFill>
                <a:latin typeface="Arial Black" pitchFamily="34" charset="0"/>
              </a:defRPr>
            </a:lvl8pPr>
            <a:lvl9pPr marL="1830747" algn="l" rtl="0" eaLnBrk="1" fontAlgn="base" hangingPunct="1">
              <a:spcBef>
                <a:spcPct val="0"/>
              </a:spcBef>
              <a:spcAft>
                <a:spcPct val="0"/>
              </a:spcAft>
              <a:defRPr sz="2002">
                <a:solidFill>
                  <a:srgbClr val="3333FF"/>
                </a:solidFill>
                <a:latin typeface="Arial Black" pitchFamily="34" charset="0"/>
              </a:defRPr>
            </a:lvl9pPr>
          </a:lstStyle>
          <a:p>
            <a:pPr algn="l" rtl="0" fontAlgn="base">
              <a:spcBef>
                <a:spcPts val="0"/>
              </a:spcBef>
              <a:spcAft>
                <a:spcPts val="0"/>
              </a:spcAft>
              <a:defRPr/>
            </a:pPr>
            <a:r>
              <a:rPr lang="en-US" sz="1050" b="0" kern="1200" dirty="0">
                <a:solidFill>
                  <a:schemeClr val="bg1">
                    <a:lumMod val="75000"/>
                  </a:schemeClr>
                </a:solidFill>
                <a:latin typeface="Arial" charset="0"/>
                <a:ea typeface="+mn-ea"/>
                <a:cs typeface="Arial" charset="0"/>
              </a:rPr>
              <a:t>Engineering Services Outsourcing Handbook </a:t>
            </a:r>
          </a:p>
        </p:txBody>
      </p:sp>
      <p:sp>
        <p:nvSpPr>
          <p:cNvPr id="9" name="Rectangle 22">
            <a:extLst>
              <a:ext uri="{FF2B5EF4-FFF2-40B4-BE49-F238E27FC236}">
                <a16:creationId xmlns:a16="http://schemas.microsoft.com/office/drawing/2014/main" id="{02868FAE-42DB-44ED-B9A0-49CDF8CC7D44}"/>
              </a:ext>
            </a:extLst>
          </p:cNvPr>
          <p:cNvSpPr>
            <a:spLocks noGrp="1" noChangeArrowheads="1"/>
          </p:cNvSpPr>
          <p:nvPr>
            <p:ph type="body" idx="1"/>
          </p:nvPr>
        </p:nvSpPr>
        <p:spPr bwMode="auto">
          <a:xfrm>
            <a:off x="307974" y="1664208"/>
            <a:ext cx="11597513" cy="4736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lain text</a:t>
            </a:r>
          </a:p>
          <a:p>
            <a:pPr lvl="1"/>
            <a:r>
              <a:rPr lang="en-US" kern="0" dirty="0"/>
              <a:t>Level 1 in font size 18</a:t>
            </a:r>
          </a:p>
          <a:p>
            <a:pPr lvl="2"/>
            <a:r>
              <a:rPr lang="en-US" kern="0" dirty="0"/>
              <a:t>Level 2 in font size 18</a:t>
            </a:r>
          </a:p>
          <a:p>
            <a:pPr lvl="3"/>
            <a:r>
              <a:rPr lang="en-US" kern="0" dirty="0"/>
              <a:t>Level 3 in font size 18</a:t>
            </a:r>
          </a:p>
          <a:p>
            <a:pPr lvl="4"/>
            <a:r>
              <a:rPr lang="en-US" kern="0" dirty="0"/>
              <a:t>Level 4 in font size 18</a:t>
            </a:r>
          </a:p>
          <a:p>
            <a:pPr lvl="4"/>
            <a:endParaRPr lang="en-US" kern="0" dirty="0"/>
          </a:p>
        </p:txBody>
      </p:sp>
      <p:sp>
        <p:nvSpPr>
          <p:cNvPr id="11" name="Rectangle 32">
            <a:extLst>
              <a:ext uri="{FF2B5EF4-FFF2-40B4-BE49-F238E27FC236}">
                <a16:creationId xmlns:a16="http://schemas.microsoft.com/office/drawing/2014/main" id="{E9474923-D520-45E8-A2AF-EA5FED2233EF}"/>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dirty="0">
              <a:solidFill>
                <a:schemeClr val="bg1">
                  <a:lumMod val="75000"/>
                </a:schemeClr>
              </a:solidFill>
            </a:endParaRPr>
          </a:p>
        </p:txBody>
      </p:sp>
      <p:sp>
        <p:nvSpPr>
          <p:cNvPr id="12" name="Rectangle 11">
            <a:extLst>
              <a:ext uri="{FF2B5EF4-FFF2-40B4-BE49-F238E27FC236}">
                <a16:creationId xmlns:a16="http://schemas.microsoft.com/office/drawing/2014/main" id="{EA639A92-C5AB-40AC-BA9F-FB7741E1A3BF}"/>
              </a:ext>
            </a:extLst>
          </p:cNvPr>
          <p:cNvSpPr/>
          <p:nvPr userDrawn="1"/>
        </p:nvSpPr>
        <p:spPr bwMode="auto">
          <a:xfrm>
            <a:off x="-321" y="0"/>
            <a:ext cx="161395" cy="1414367"/>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16" name="Rectangle 21">
            <a:extLst>
              <a:ext uri="{FF2B5EF4-FFF2-40B4-BE49-F238E27FC236}">
                <a16:creationId xmlns:a16="http://schemas.microsoft.com/office/drawing/2014/main" id="{5094D469-B92B-480A-BBDB-1B8B6AAF9C8C}"/>
              </a:ext>
            </a:extLst>
          </p:cNvPr>
          <p:cNvSpPr>
            <a:spLocks noGrp="1" noChangeArrowheads="1"/>
          </p:cNvSpPr>
          <p:nvPr>
            <p:ph type="title"/>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a:t>Master title style is 18pt, “Arial Black” font</a:t>
            </a:r>
          </a:p>
        </p:txBody>
      </p:sp>
      <p:pic>
        <p:nvPicPr>
          <p:cNvPr id="13" name="Graphic 12">
            <a:extLst>
              <a:ext uri="{FF2B5EF4-FFF2-40B4-BE49-F238E27FC236}">
                <a16:creationId xmlns:a16="http://schemas.microsoft.com/office/drawing/2014/main" id="{5D7E66FD-F122-C24F-B2A1-CEB5ED85DE50}"/>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1230176099"/>
      </p:ext>
    </p:extLst>
  </p:cSld>
  <p:clrMap bg1="lt1" tx1="dk1" bg2="lt2" tx2="dk2" accent1="accent1" accent2="accent2" accent3="accent3" accent4="accent4" accent5="accent5" accent6="accent6" hlink="hlink" folHlink="folHlink"/>
  <p:sldLayoutIdLst>
    <p:sldLayoutId id="2147484041" r:id="rId1"/>
    <p:sldLayoutId id="2147483960" r:id="rId2"/>
    <p:sldLayoutId id="2147483961" r:id="rId3"/>
    <p:sldLayoutId id="2147483959" r:id="rId4"/>
    <p:sldLayoutId id="2147483924" r:id="rId5"/>
    <p:sldLayoutId id="2147483931" r:id="rId6"/>
    <p:sldLayoutId id="2147483932" r:id="rId7"/>
    <p:sldLayoutId id="2147484118" r:id="rId8"/>
    <p:sldLayoutId id="2147484010" r:id="rId9"/>
    <p:sldLayoutId id="2147484119" r:id="rId10"/>
    <p:sldLayoutId id="2147484120" r:id="rId11"/>
  </p:sldLayoutIdLst>
  <p:txStyles>
    <p:titleStyle>
      <a:lvl1pPr algn="l" rtl="0" eaLnBrk="1" fontAlgn="base" hangingPunct="1">
        <a:spcBef>
          <a:spcPct val="0"/>
        </a:spcBef>
        <a:spcAft>
          <a:spcPct val="0"/>
        </a:spcAft>
        <a:defRPr lang="en-US" sz="1800" b="0" smtClean="0">
          <a:solidFill>
            <a:schemeClr val="accent2"/>
          </a:solidFill>
          <a:latin typeface="+mj-lt"/>
          <a:ea typeface="+mj-ea"/>
          <a:cs typeface="+mj-cs"/>
        </a:defRPr>
      </a:lvl1pPr>
      <a:lvl2pPr algn="l" rtl="0" eaLnBrk="1" fontAlgn="base" hangingPunct="1">
        <a:spcBef>
          <a:spcPct val="0"/>
        </a:spcBef>
        <a:spcAft>
          <a:spcPct val="0"/>
        </a:spcAft>
        <a:defRPr sz="2002">
          <a:solidFill>
            <a:srgbClr val="3333FF"/>
          </a:solidFill>
          <a:latin typeface="Arial Black" pitchFamily="34" charset="0"/>
        </a:defRPr>
      </a:lvl2pPr>
      <a:lvl3pPr algn="l" rtl="0" eaLnBrk="1" fontAlgn="base" hangingPunct="1">
        <a:spcBef>
          <a:spcPct val="0"/>
        </a:spcBef>
        <a:spcAft>
          <a:spcPct val="0"/>
        </a:spcAft>
        <a:defRPr sz="2002">
          <a:solidFill>
            <a:srgbClr val="3333FF"/>
          </a:solidFill>
          <a:latin typeface="Arial Black" pitchFamily="34" charset="0"/>
        </a:defRPr>
      </a:lvl3pPr>
      <a:lvl4pPr algn="l" rtl="0" eaLnBrk="1" fontAlgn="base" hangingPunct="1">
        <a:spcBef>
          <a:spcPct val="0"/>
        </a:spcBef>
        <a:spcAft>
          <a:spcPct val="0"/>
        </a:spcAft>
        <a:defRPr sz="2002">
          <a:solidFill>
            <a:srgbClr val="3333FF"/>
          </a:solidFill>
          <a:latin typeface="Arial Black" pitchFamily="34" charset="0"/>
        </a:defRPr>
      </a:lvl4pPr>
      <a:lvl5pPr algn="l" rtl="0" eaLnBrk="1" fontAlgn="base" hangingPunct="1">
        <a:spcBef>
          <a:spcPct val="0"/>
        </a:spcBef>
        <a:spcAft>
          <a:spcPct val="0"/>
        </a:spcAft>
        <a:defRPr sz="2002">
          <a:solidFill>
            <a:srgbClr val="3333FF"/>
          </a:solidFill>
          <a:latin typeface="Arial Black" pitchFamily="34" charset="0"/>
        </a:defRPr>
      </a:lvl5pPr>
      <a:lvl6pPr marL="457686" algn="l" rtl="0" eaLnBrk="1" fontAlgn="base" hangingPunct="1">
        <a:spcBef>
          <a:spcPct val="0"/>
        </a:spcBef>
        <a:spcAft>
          <a:spcPct val="0"/>
        </a:spcAft>
        <a:defRPr sz="2002">
          <a:solidFill>
            <a:srgbClr val="3333FF"/>
          </a:solidFill>
          <a:latin typeface="Arial Black" pitchFamily="34" charset="0"/>
        </a:defRPr>
      </a:lvl6pPr>
      <a:lvl7pPr marL="915373" algn="l" rtl="0" eaLnBrk="1" fontAlgn="base" hangingPunct="1">
        <a:spcBef>
          <a:spcPct val="0"/>
        </a:spcBef>
        <a:spcAft>
          <a:spcPct val="0"/>
        </a:spcAft>
        <a:defRPr sz="2002">
          <a:solidFill>
            <a:srgbClr val="3333FF"/>
          </a:solidFill>
          <a:latin typeface="Arial Black" pitchFamily="34" charset="0"/>
        </a:defRPr>
      </a:lvl7pPr>
      <a:lvl8pPr marL="1373061" algn="l" rtl="0" eaLnBrk="1" fontAlgn="base" hangingPunct="1">
        <a:spcBef>
          <a:spcPct val="0"/>
        </a:spcBef>
        <a:spcAft>
          <a:spcPct val="0"/>
        </a:spcAft>
        <a:defRPr sz="2002">
          <a:solidFill>
            <a:srgbClr val="3333FF"/>
          </a:solidFill>
          <a:latin typeface="Arial Black" pitchFamily="34" charset="0"/>
        </a:defRPr>
      </a:lvl8pPr>
      <a:lvl9pPr marL="1830747" algn="l" rtl="0" eaLnBrk="1" fontAlgn="base" hangingPunct="1">
        <a:spcBef>
          <a:spcPct val="0"/>
        </a:spcBef>
        <a:spcAft>
          <a:spcPct val="0"/>
        </a:spcAft>
        <a:defRPr sz="2002">
          <a:solidFill>
            <a:srgbClr val="3333FF"/>
          </a:solidFill>
          <a:latin typeface="Arial Black" pitchFamily="34" charset="0"/>
        </a:defRPr>
      </a:lvl9pPr>
    </p:titleStyle>
    <p:bodyStyle>
      <a:lvl1pPr marL="0" indent="0" algn="l" rtl="0" eaLnBrk="1" fontAlgn="base" hangingPunct="1">
        <a:spcBef>
          <a:spcPct val="0"/>
        </a:spcBef>
        <a:spcAft>
          <a:spcPct val="0"/>
        </a:spcAft>
        <a:buClr>
          <a:schemeClr val="accent2"/>
        </a:buClr>
        <a:buSzPct val="70000"/>
        <a:buFont typeface="Wingdings" panose="05000000000000000000" pitchFamily="2" charset="2"/>
        <a:buNone/>
        <a:defRPr sz="1803">
          <a:solidFill>
            <a:schemeClr val="tx1"/>
          </a:solidFill>
          <a:latin typeface="+mn-lt"/>
          <a:ea typeface="+mn-ea"/>
          <a:cs typeface="+mn-cs"/>
        </a:defRPr>
      </a:lvl1pPr>
      <a:lvl2pPr marL="228600" indent="-228600" algn="l" rtl="0" eaLnBrk="1" fontAlgn="base" hangingPunct="1">
        <a:spcBef>
          <a:spcPct val="0"/>
        </a:spcBef>
        <a:spcAft>
          <a:spcPct val="0"/>
        </a:spcAft>
        <a:buClr>
          <a:schemeClr val="accent2"/>
        </a:buClr>
        <a:buSzPct val="70000"/>
        <a:buFont typeface="Wingdings" panose="05000000000000000000" pitchFamily="2" charset="2"/>
        <a:buChar char="l"/>
        <a:defRPr sz="1803">
          <a:solidFill>
            <a:schemeClr val="tx1"/>
          </a:solidFill>
          <a:latin typeface="+mn-lt"/>
        </a:defRPr>
      </a:lvl2pPr>
      <a:lvl3pPr marL="457200" indent="-228600" algn="l" rtl="0" eaLnBrk="1" fontAlgn="base" hangingPunct="1">
        <a:spcBef>
          <a:spcPct val="0"/>
        </a:spcBef>
        <a:spcAft>
          <a:spcPct val="0"/>
        </a:spcAft>
        <a:buClr>
          <a:schemeClr val="bg2"/>
        </a:buClr>
        <a:buSzPct val="100000"/>
        <a:buFont typeface="Arial" panose="020B0604020202020204" pitchFamily="34" charset="0"/>
        <a:buChar char="–"/>
        <a:defRPr sz="1803">
          <a:solidFill>
            <a:schemeClr val="tx1"/>
          </a:solidFill>
          <a:latin typeface="+mn-lt"/>
        </a:defRPr>
      </a:lvl3pPr>
      <a:lvl4pPr marL="685800" indent="-228600" algn="l" rtl="0" eaLnBrk="1" fontAlgn="base" hangingPunct="1">
        <a:spcBef>
          <a:spcPct val="0"/>
        </a:spcBef>
        <a:spcAft>
          <a:spcPct val="0"/>
        </a:spcAft>
        <a:buClr>
          <a:schemeClr val="accent5"/>
        </a:buClr>
        <a:buSzPct val="55000"/>
        <a:buFont typeface="Wingdings" panose="05000000000000000000" pitchFamily="2" charset="2"/>
        <a:buChar char="u"/>
        <a:defRPr sz="1803">
          <a:solidFill>
            <a:schemeClr val="tx1"/>
          </a:solidFill>
          <a:latin typeface="+mn-lt"/>
        </a:defRPr>
      </a:lvl4pPr>
      <a:lvl5pPr marL="914400" indent="-228600" algn="l" rtl="0" eaLnBrk="1" fontAlgn="base" hangingPunct="1">
        <a:spcBef>
          <a:spcPct val="0"/>
        </a:spcBef>
        <a:spcAft>
          <a:spcPct val="0"/>
        </a:spcAft>
        <a:buClr>
          <a:schemeClr val="tx1"/>
        </a:buClr>
        <a:buSzPct val="70000"/>
        <a:buFont typeface="Courier New" pitchFamily="49" charset="0"/>
        <a:buChar char="o"/>
        <a:defRPr sz="1803">
          <a:solidFill>
            <a:schemeClr val="tx1"/>
          </a:solidFill>
          <a:latin typeface="+mn-lt"/>
        </a:defRPr>
      </a:lvl5pPr>
      <a:lvl6pPr marL="1369883" indent="-227255" algn="l" rtl="0" eaLnBrk="1" fontAlgn="base" hangingPunct="1">
        <a:spcBef>
          <a:spcPct val="0"/>
        </a:spcBef>
        <a:spcAft>
          <a:spcPct val="0"/>
        </a:spcAft>
        <a:buClr>
          <a:srgbClr val="3DA7A7"/>
        </a:buClr>
        <a:buChar char="•"/>
        <a:defRPr sz="1602">
          <a:solidFill>
            <a:schemeClr val="tx1"/>
          </a:solidFill>
          <a:latin typeface="+mn-lt"/>
        </a:defRPr>
      </a:lvl6pPr>
      <a:lvl7pPr marL="1827569" indent="-227255" algn="l" rtl="0" eaLnBrk="1" fontAlgn="base" hangingPunct="1">
        <a:spcBef>
          <a:spcPct val="0"/>
        </a:spcBef>
        <a:spcAft>
          <a:spcPct val="0"/>
        </a:spcAft>
        <a:buClr>
          <a:srgbClr val="3DA7A7"/>
        </a:buClr>
        <a:buChar char="•"/>
        <a:defRPr sz="1602">
          <a:solidFill>
            <a:schemeClr val="tx1"/>
          </a:solidFill>
          <a:latin typeface="+mn-lt"/>
        </a:defRPr>
      </a:lvl7pPr>
      <a:lvl8pPr marL="2285256" indent="-227255" algn="l" rtl="0" eaLnBrk="1" fontAlgn="base" hangingPunct="1">
        <a:spcBef>
          <a:spcPct val="0"/>
        </a:spcBef>
        <a:spcAft>
          <a:spcPct val="0"/>
        </a:spcAft>
        <a:buClr>
          <a:srgbClr val="3DA7A7"/>
        </a:buClr>
        <a:buChar char="•"/>
        <a:defRPr sz="1602">
          <a:solidFill>
            <a:schemeClr val="tx1"/>
          </a:solidFill>
          <a:latin typeface="+mn-lt"/>
        </a:defRPr>
      </a:lvl8pPr>
      <a:lvl9pPr marL="2742942" indent="-227255" algn="l" rtl="0" eaLnBrk="1" fontAlgn="base" hangingPunct="1">
        <a:spcBef>
          <a:spcPct val="0"/>
        </a:spcBef>
        <a:spcAft>
          <a:spcPct val="0"/>
        </a:spcAft>
        <a:buClr>
          <a:srgbClr val="3DA7A7"/>
        </a:buClr>
        <a:buChar char="•"/>
        <a:defRPr sz="1602">
          <a:solidFill>
            <a:schemeClr val="tx1"/>
          </a:solidFill>
          <a:latin typeface="+mn-lt"/>
        </a:defRPr>
      </a:lvl9pPr>
    </p:bodyStyle>
    <p:otherStyle>
      <a:defPPr>
        <a:defRPr lang="en-US"/>
      </a:defPPr>
      <a:lvl1pPr marL="0" algn="l" defTabSz="915373" rtl="0" eaLnBrk="1" latinLnBrk="0" hangingPunct="1">
        <a:defRPr sz="1803" kern="1200">
          <a:solidFill>
            <a:schemeClr val="tx1"/>
          </a:solidFill>
          <a:latin typeface="+mn-lt"/>
          <a:ea typeface="+mn-ea"/>
          <a:cs typeface="+mn-cs"/>
        </a:defRPr>
      </a:lvl1pPr>
      <a:lvl2pPr marL="457686" algn="l" defTabSz="915373" rtl="0" eaLnBrk="1" latinLnBrk="0" hangingPunct="1">
        <a:defRPr sz="1803" kern="1200">
          <a:solidFill>
            <a:schemeClr val="tx1"/>
          </a:solidFill>
          <a:latin typeface="+mn-lt"/>
          <a:ea typeface="+mn-ea"/>
          <a:cs typeface="+mn-cs"/>
        </a:defRPr>
      </a:lvl2pPr>
      <a:lvl3pPr marL="915373" algn="l" defTabSz="915373" rtl="0" eaLnBrk="1" latinLnBrk="0" hangingPunct="1">
        <a:defRPr sz="1803" kern="1200">
          <a:solidFill>
            <a:schemeClr val="tx1"/>
          </a:solidFill>
          <a:latin typeface="+mn-lt"/>
          <a:ea typeface="+mn-ea"/>
          <a:cs typeface="+mn-cs"/>
        </a:defRPr>
      </a:lvl3pPr>
      <a:lvl4pPr marL="1373061" algn="l" defTabSz="915373" rtl="0" eaLnBrk="1" latinLnBrk="0" hangingPunct="1">
        <a:defRPr sz="1803" kern="1200">
          <a:solidFill>
            <a:schemeClr val="tx1"/>
          </a:solidFill>
          <a:latin typeface="+mn-lt"/>
          <a:ea typeface="+mn-ea"/>
          <a:cs typeface="+mn-cs"/>
        </a:defRPr>
      </a:lvl4pPr>
      <a:lvl5pPr marL="1830747" algn="l" defTabSz="915373" rtl="0" eaLnBrk="1" latinLnBrk="0" hangingPunct="1">
        <a:defRPr sz="1803" kern="1200">
          <a:solidFill>
            <a:schemeClr val="tx1"/>
          </a:solidFill>
          <a:latin typeface="+mn-lt"/>
          <a:ea typeface="+mn-ea"/>
          <a:cs typeface="+mn-cs"/>
        </a:defRPr>
      </a:lvl5pPr>
      <a:lvl6pPr marL="2288434" algn="l" defTabSz="915373" rtl="0" eaLnBrk="1" latinLnBrk="0" hangingPunct="1">
        <a:defRPr sz="1803" kern="1200">
          <a:solidFill>
            <a:schemeClr val="tx1"/>
          </a:solidFill>
          <a:latin typeface="+mn-lt"/>
          <a:ea typeface="+mn-ea"/>
          <a:cs typeface="+mn-cs"/>
        </a:defRPr>
      </a:lvl6pPr>
      <a:lvl7pPr marL="2746120" algn="l" defTabSz="915373" rtl="0" eaLnBrk="1" latinLnBrk="0" hangingPunct="1">
        <a:defRPr sz="1803" kern="1200">
          <a:solidFill>
            <a:schemeClr val="tx1"/>
          </a:solidFill>
          <a:latin typeface="+mn-lt"/>
          <a:ea typeface="+mn-ea"/>
          <a:cs typeface="+mn-cs"/>
        </a:defRPr>
      </a:lvl7pPr>
      <a:lvl8pPr marL="3203808" algn="l" defTabSz="915373" rtl="0" eaLnBrk="1" latinLnBrk="0" hangingPunct="1">
        <a:defRPr sz="1803" kern="1200">
          <a:solidFill>
            <a:schemeClr val="tx1"/>
          </a:solidFill>
          <a:latin typeface="+mn-lt"/>
          <a:ea typeface="+mn-ea"/>
          <a:cs typeface="+mn-cs"/>
        </a:defRPr>
      </a:lvl8pPr>
      <a:lvl9pPr marL="3661495" algn="l" defTabSz="915373" rtl="0" eaLnBrk="1" latinLnBrk="0" hangingPunct="1">
        <a:defRPr sz="180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4">
          <p15:clr>
            <a:srgbClr val="F26B43"/>
          </p15:clr>
        </p15:guide>
        <p15:guide id="2" pos="7500">
          <p15:clr>
            <a:srgbClr val="F26B43"/>
          </p15:clr>
        </p15:guide>
        <p15:guide id="7" orient="horz" pos="1044" userDrawn="1">
          <p15:clr>
            <a:srgbClr val="F26B43"/>
          </p15:clr>
        </p15:guide>
        <p15:guide id="8" orient="horz" pos="4032">
          <p15:clr>
            <a:srgbClr val="F26B43"/>
          </p15:clr>
        </p15:guide>
        <p15:guide id="9" orient="horz" pos="3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everestgrp.com/custom-decision-support/" TargetMode="External"/><Relationship Id="rId2" Type="http://schemas.openxmlformats.org/officeDocument/2006/relationships/hyperlink" Target="mailto:info@everestgrp.com" TargetMode="Externa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hyperlink" Target="mailto:ojas.rajpal@everestgrp.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mailto:akshat.vaid@everestgrp.com" TargetMode="External"/><Relationship Id="rId5" Type="http://schemas.openxmlformats.org/officeDocument/2006/relationships/hyperlink" Target="mailto:anish.agarwal@everestgrp.com" TargetMode="External"/><Relationship Id="rId4" Type="http://schemas.openxmlformats.org/officeDocument/2006/relationships/hyperlink" Target="mailto:mayank.maria@everestgrp.com"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5.xml"/><Relationship Id="rId5" Type="http://schemas.openxmlformats.org/officeDocument/2006/relationships/tags" Target="../tags/tag6.xml"/><Relationship Id="rId4"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hyperlink" Target="https://www2.everestgrp.com/reports?Cat0=1093" TargetMode="External"/><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3BD459-7B3B-4D2B-A12D-894EC17587D6}"/>
              </a:ext>
            </a:extLst>
          </p:cNvPr>
          <p:cNvSpPr/>
          <p:nvPr/>
        </p:nvSpPr>
        <p:spPr>
          <a:xfrm>
            <a:off x="609598" y="2000575"/>
            <a:ext cx="11292623" cy="692497"/>
          </a:xfrm>
          <a:prstGeom prst="rect">
            <a:avLst/>
          </a:prstGeom>
        </p:spPr>
        <p:txBody>
          <a:bodyPr wrap="square" lIns="0" tIns="0" rIns="0" bIns="0" anchor="b">
            <a:spAutoFit/>
          </a:bodyPr>
          <a:lstStyle/>
          <a:p>
            <a:pPr defTabSz="915373" fontAlgn="auto">
              <a:spcBef>
                <a:spcPts val="0"/>
              </a:spcBef>
              <a:spcAft>
                <a:spcPts val="600"/>
              </a:spcAft>
              <a:defRPr/>
            </a:pPr>
            <a:r>
              <a:rPr lang="en-US" sz="2200" dirty="0">
                <a:solidFill>
                  <a:schemeClr val="accent2"/>
                </a:solidFill>
                <a:latin typeface="+mj-lt"/>
                <a:cs typeface="+mn-cs"/>
              </a:rPr>
              <a:t>Engineering Services Outsourcing Handbook</a:t>
            </a:r>
          </a:p>
          <a:p>
            <a:pPr defTabSz="915373" fontAlgn="auto">
              <a:spcBef>
                <a:spcPts val="0"/>
              </a:spcBef>
              <a:spcAft>
                <a:spcPts val="600"/>
              </a:spcAft>
              <a:defRPr/>
            </a:pPr>
            <a:r>
              <a:rPr lang="en-US" sz="1800" dirty="0">
                <a:solidFill>
                  <a:schemeClr val="accent5">
                    <a:lumMod val="60000"/>
                    <a:lumOff val="40000"/>
                  </a:schemeClr>
                </a:solidFill>
              </a:rPr>
              <a:t>March 2022: Complimentary Abstract / Table of Contents</a:t>
            </a:r>
          </a:p>
        </p:txBody>
      </p:sp>
    </p:spTree>
    <p:extLst>
      <p:ext uri="{BB962C8B-B14F-4D97-AF65-F5344CB8AC3E}">
        <p14:creationId xmlns:p14="http://schemas.microsoft.com/office/powerpoint/2010/main" val="2619318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248B55-0857-40EE-8465-E21C4B9D3BBD}"/>
              </a:ext>
            </a:extLst>
          </p:cNvPr>
          <p:cNvSpPr>
            <a:spLocks noGrp="1"/>
          </p:cNvSpPr>
          <p:nvPr>
            <p:ph type="title"/>
          </p:nvPr>
        </p:nvSpPr>
        <p:spPr/>
        <p:txBody>
          <a:bodyPr/>
          <a:lstStyle/>
          <a:p>
            <a:r>
              <a:rPr lang="en-US" dirty="0"/>
              <a:t>Our research offerings</a:t>
            </a:r>
            <a:endParaRPr lang="en-IN" dirty="0"/>
          </a:p>
        </p:txBody>
      </p:sp>
      <p:graphicFrame>
        <p:nvGraphicFramePr>
          <p:cNvPr id="20" name="Table 19">
            <a:extLst>
              <a:ext uri="{FF2B5EF4-FFF2-40B4-BE49-F238E27FC236}">
                <a16:creationId xmlns:a16="http://schemas.microsoft.com/office/drawing/2014/main" id="{98C087DF-0FF7-1F4F-A7A4-5D6899EEE8C7}"/>
              </a:ext>
            </a:extLst>
          </p:cNvPr>
          <p:cNvGraphicFramePr>
            <a:graphicFrameLocks noGrp="1"/>
          </p:cNvGraphicFramePr>
          <p:nvPr/>
        </p:nvGraphicFramePr>
        <p:xfrm>
          <a:off x="9440730" y="2103096"/>
          <a:ext cx="2450948" cy="1073312"/>
        </p:xfrm>
        <a:graphic>
          <a:graphicData uri="http://schemas.openxmlformats.org/drawingml/2006/table">
            <a:tbl>
              <a:tblPr firstRow="1" bandRow="1">
                <a:tableStyleId>{5C22544A-7EE6-4342-B048-85BDC9FD1C3A}</a:tableStyleId>
              </a:tblPr>
              <a:tblGrid>
                <a:gridCol w="2450948">
                  <a:extLst>
                    <a:ext uri="{9D8B030D-6E8A-4147-A177-3AD203B41FA5}">
                      <a16:colId xmlns:a16="http://schemas.microsoft.com/office/drawing/2014/main" val="1532193756"/>
                    </a:ext>
                  </a:extLst>
                </a:gridCol>
              </a:tblGrid>
              <a:tr h="509376">
                <a:tc>
                  <a:txBody>
                    <a:bodyPr/>
                    <a:lstStyle/>
                    <a:p>
                      <a:pPr marL="0" marR="0" lvl="1" indent="0" algn="l" defTabSz="914400" rtl="0" eaLnBrk="1" fontAlgn="base" latinLnBrk="0" hangingPunct="1">
                        <a:lnSpc>
                          <a:spcPct val="117000"/>
                        </a:lnSpc>
                        <a:spcBef>
                          <a:spcPts val="300"/>
                        </a:spcBef>
                        <a:spcAft>
                          <a:spcPts val="0"/>
                        </a:spcAft>
                        <a:buClr>
                          <a:srgbClr val="005A8C"/>
                        </a:buClr>
                        <a:buSzPct val="70000"/>
                        <a:buFont typeface="Wingdings" panose="05000000000000000000" pitchFamily="2" charset="2"/>
                        <a:buNone/>
                        <a:tabLst/>
                        <a:defRPr/>
                      </a:pPr>
                      <a:r>
                        <a:rPr kumimoji="0" lang="en-US" sz="1050" b="0" i="0" u="none" strike="noStrike" kern="1200" cap="none" spc="-10" normalizeH="0" baseline="0" noProof="0" dirty="0">
                          <a:ln>
                            <a:noFill/>
                          </a:ln>
                          <a:solidFill>
                            <a:schemeClr val="bg1">
                              <a:lumMod val="65000"/>
                            </a:schemeClr>
                          </a:solidFill>
                          <a:effectLst/>
                          <a:uLnTx/>
                          <a:uFillTx/>
                          <a:latin typeface="+mn-lt"/>
                          <a:ea typeface="+mn-ea"/>
                          <a:cs typeface="Arial" charset="0"/>
                        </a:rPr>
                        <a:t>If you want to learn whether your organization has a membership agreement or request information on pricing and membership options, please contact us at </a:t>
                      </a:r>
                      <a:r>
                        <a:rPr kumimoji="0" lang="en-US" sz="1050" b="1" i="0" u="none" strike="noStrike" kern="1200" cap="none" spc="-10" normalizeH="0" baseline="0" noProof="0" dirty="0">
                          <a:ln>
                            <a:noFill/>
                          </a:ln>
                          <a:solidFill>
                            <a:schemeClr val="bg1">
                              <a:lumMod val="65000"/>
                            </a:schemeClr>
                          </a:solidFill>
                          <a:effectLst/>
                          <a:uLnTx/>
                          <a:uFillTx/>
                          <a:latin typeface="+mn-lt"/>
                          <a:ea typeface="+mn-ea"/>
                          <a:cs typeface="Arial" charset="0"/>
                          <a:hlinkClick r:id="rId2"/>
                        </a:rPr>
                        <a:t>info@everestgrp.com</a:t>
                      </a:r>
                      <a:endParaRPr kumimoji="0" lang="en-US" sz="1050" b="1" i="0" u="none" strike="noStrike" kern="1200" cap="none" spc="-10" normalizeH="0" baseline="0" noProof="0" dirty="0">
                        <a:ln>
                          <a:noFill/>
                        </a:ln>
                        <a:solidFill>
                          <a:schemeClr val="bg1">
                            <a:lumMod val="65000"/>
                          </a:schemeClr>
                        </a:solidFill>
                        <a:effectLst/>
                        <a:uLnTx/>
                        <a:uFillTx/>
                        <a:latin typeface="+mn-lt"/>
                        <a:ea typeface="+mn-ea"/>
                        <a:cs typeface="Arial" charset="0"/>
                      </a:endParaRPr>
                    </a:p>
                  </a:txBody>
                  <a:tcPr marL="0" marR="91535" marT="108000"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208746"/>
                  </a:ext>
                </a:extLst>
              </a:tr>
            </a:tbl>
          </a:graphicData>
        </a:graphic>
      </p:graphicFrame>
      <p:grpSp>
        <p:nvGrpSpPr>
          <p:cNvPr id="21" name="Group 20">
            <a:extLst>
              <a:ext uri="{FF2B5EF4-FFF2-40B4-BE49-F238E27FC236}">
                <a16:creationId xmlns:a16="http://schemas.microsoft.com/office/drawing/2014/main" id="{2F6ED4AB-5794-A042-9BF8-FED466209D8A}"/>
              </a:ext>
            </a:extLst>
          </p:cNvPr>
          <p:cNvGrpSpPr/>
          <p:nvPr/>
        </p:nvGrpSpPr>
        <p:grpSpPr>
          <a:xfrm>
            <a:off x="9440730" y="3429000"/>
            <a:ext cx="2464149" cy="3429000"/>
            <a:chOff x="9062356" y="3429000"/>
            <a:chExt cx="3006184" cy="3429000"/>
          </a:xfrm>
        </p:grpSpPr>
        <p:sp>
          <p:nvSpPr>
            <p:cNvPr id="22" name="Rectangle 21">
              <a:extLst>
                <a:ext uri="{FF2B5EF4-FFF2-40B4-BE49-F238E27FC236}">
                  <a16:creationId xmlns:a16="http://schemas.microsoft.com/office/drawing/2014/main" id="{4ED27435-EB11-5643-BCE4-554AEB10FF94}"/>
                </a:ext>
              </a:extLst>
            </p:cNvPr>
            <p:cNvSpPr/>
            <p:nvPr/>
          </p:nvSpPr>
          <p:spPr bwMode="auto">
            <a:xfrm>
              <a:off x="9065926" y="3429000"/>
              <a:ext cx="3001970" cy="3429000"/>
            </a:xfrm>
            <a:prstGeom prst="rect">
              <a:avLst/>
            </a:prstGeom>
            <a:solidFill>
              <a:schemeClr val="accent4">
                <a:lumMod val="20000"/>
                <a:lumOff val="80000"/>
                <a:alpha val="43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dirty="0">
                <a:ln>
                  <a:noFill/>
                </a:ln>
                <a:solidFill>
                  <a:schemeClr val="tx1"/>
                </a:solidFill>
                <a:effectLst/>
                <a:latin typeface="Arial" charset="0"/>
              </a:endParaRPr>
            </a:p>
          </p:txBody>
        </p:sp>
        <p:sp>
          <p:nvSpPr>
            <p:cNvPr id="27" name="Rectangle 26">
              <a:extLst>
                <a:ext uri="{FF2B5EF4-FFF2-40B4-BE49-F238E27FC236}">
                  <a16:creationId xmlns:a16="http://schemas.microsoft.com/office/drawing/2014/main" id="{3AEE4BB6-0CE9-6545-A681-34D78EB7F0CB}"/>
                </a:ext>
              </a:extLst>
            </p:cNvPr>
            <p:cNvSpPr/>
            <p:nvPr/>
          </p:nvSpPr>
          <p:spPr>
            <a:xfrm>
              <a:off x="9062356" y="4062884"/>
              <a:ext cx="3006184"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dirty="0">
                  <a:solidFill>
                    <a:schemeClr val="accent4">
                      <a:lumMod val="50000"/>
                    </a:schemeClr>
                  </a:solidFill>
                  <a:latin typeface="Arial"/>
                </a:rPr>
                <a:t>Benchmarking</a:t>
              </a:r>
            </a:p>
          </p:txBody>
        </p:sp>
        <p:sp>
          <p:nvSpPr>
            <p:cNvPr id="29" name="Rectangle 28">
              <a:extLst>
                <a:ext uri="{FF2B5EF4-FFF2-40B4-BE49-F238E27FC236}">
                  <a16:creationId xmlns:a16="http://schemas.microsoft.com/office/drawing/2014/main" id="{77747E61-D226-F540-BEB5-4E46A2E3C49C}"/>
                </a:ext>
              </a:extLst>
            </p:cNvPr>
            <p:cNvSpPr/>
            <p:nvPr/>
          </p:nvSpPr>
          <p:spPr>
            <a:xfrm>
              <a:off x="9062356" y="4737204"/>
              <a:ext cx="3001971"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dirty="0">
                  <a:solidFill>
                    <a:schemeClr val="accent4">
                      <a:lumMod val="50000"/>
                    </a:schemeClr>
                  </a:solidFill>
                  <a:latin typeface="Arial"/>
                </a:rPr>
                <a:t>Peer analysis</a:t>
              </a:r>
            </a:p>
          </p:txBody>
        </p:sp>
        <p:sp>
          <p:nvSpPr>
            <p:cNvPr id="30" name="Rectangle 29">
              <a:extLst>
                <a:ext uri="{FF2B5EF4-FFF2-40B4-BE49-F238E27FC236}">
                  <a16:creationId xmlns:a16="http://schemas.microsoft.com/office/drawing/2014/main" id="{095DF494-E1F2-A544-B60C-80B788C916AC}"/>
                </a:ext>
              </a:extLst>
            </p:cNvPr>
            <p:cNvSpPr/>
            <p:nvPr/>
          </p:nvSpPr>
          <p:spPr>
            <a:xfrm>
              <a:off x="9062356" y="5074364"/>
              <a:ext cx="3001971"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dirty="0">
                  <a:solidFill>
                    <a:schemeClr val="accent4">
                      <a:lumMod val="50000"/>
                    </a:schemeClr>
                  </a:solidFill>
                  <a:latin typeface="Arial"/>
                </a:rPr>
                <a:t>Market intelligence</a:t>
              </a:r>
            </a:p>
          </p:txBody>
        </p:sp>
        <p:sp>
          <p:nvSpPr>
            <p:cNvPr id="31" name="Rectangle 30">
              <a:extLst>
                <a:ext uri="{FF2B5EF4-FFF2-40B4-BE49-F238E27FC236}">
                  <a16:creationId xmlns:a16="http://schemas.microsoft.com/office/drawing/2014/main" id="{AD53F944-82EF-D648-BC42-A07B5A8C1BFF}"/>
                </a:ext>
              </a:extLst>
            </p:cNvPr>
            <p:cNvSpPr/>
            <p:nvPr/>
          </p:nvSpPr>
          <p:spPr>
            <a:xfrm>
              <a:off x="9062356" y="4400044"/>
              <a:ext cx="3006184"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dirty="0">
                  <a:solidFill>
                    <a:schemeClr val="accent4">
                      <a:lumMod val="50000"/>
                    </a:schemeClr>
                  </a:solidFill>
                  <a:latin typeface="Arial"/>
                </a:rPr>
                <a:t>Contract assessment</a:t>
              </a:r>
            </a:p>
          </p:txBody>
        </p:sp>
        <p:sp>
          <p:nvSpPr>
            <p:cNvPr id="32" name="Rectangle 31">
              <a:extLst>
                <a:ext uri="{FF2B5EF4-FFF2-40B4-BE49-F238E27FC236}">
                  <a16:creationId xmlns:a16="http://schemas.microsoft.com/office/drawing/2014/main" id="{4B1EF177-4D94-364E-8228-C60459A48D09}"/>
                </a:ext>
              </a:extLst>
            </p:cNvPr>
            <p:cNvSpPr/>
            <p:nvPr/>
          </p:nvSpPr>
          <p:spPr>
            <a:xfrm>
              <a:off x="9062356" y="5933350"/>
              <a:ext cx="3001971" cy="461665"/>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dirty="0">
                  <a:solidFill>
                    <a:schemeClr val="accent4">
                      <a:lumMod val="50000"/>
                    </a:schemeClr>
                  </a:solidFill>
                  <a:latin typeface="Arial"/>
                </a:rPr>
                <a:t>Locations: costs, skills, </a:t>
              </a:r>
              <a:br>
                <a:rPr lang="en-US" sz="1200" dirty="0">
                  <a:solidFill>
                    <a:schemeClr val="accent4">
                      <a:lumMod val="50000"/>
                    </a:schemeClr>
                  </a:solidFill>
                  <a:latin typeface="Arial"/>
                </a:rPr>
              </a:br>
              <a:r>
                <a:rPr lang="en-US" sz="1200" dirty="0">
                  <a:solidFill>
                    <a:schemeClr val="accent4">
                      <a:lumMod val="50000"/>
                    </a:schemeClr>
                  </a:solidFill>
                  <a:latin typeface="Arial"/>
                </a:rPr>
                <a:t>sustainability, portfolios</a:t>
              </a:r>
            </a:p>
          </p:txBody>
        </p:sp>
        <p:grpSp>
          <p:nvGrpSpPr>
            <p:cNvPr id="33" name="Group 32">
              <a:extLst>
                <a:ext uri="{FF2B5EF4-FFF2-40B4-BE49-F238E27FC236}">
                  <a16:creationId xmlns:a16="http://schemas.microsoft.com/office/drawing/2014/main" id="{3738219B-0AC5-124C-BF3D-9C98D3E3FDCE}"/>
                </a:ext>
              </a:extLst>
            </p:cNvPr>
            <p:cNvGrpSpPr/>
            <p:nvPr/>
          </p:nvGrpSpPr>
          <p:grpSpPr>
            <a:xfrm>
              <a:off x="9065925" y="3511657"/>
              <a:ext cx="3001971" cy="491017"/>
              <a:chOff x="8668919" y="3404317"/>
              <a:chExt cx="3001971" cy="491017"/>
            </a:xfrm>
          </p:grpSpPr>
          <p:sp>
            <p:nvSpPr>
              <p:cNvPr id="35" name="Rectangle 34">
                <a:extLst>
                  <a:ext uri="{FF2B5EF4-FFF2-40B4-BE49-F238E27FC236}">
                    <a16:creationId xmlns:a16="http://schemas.microsoft.com/office/drawing/2014/main" id="{4060E840-31A6-204F-83B1-40276D4A65B1}"/>
                  </a:ext>
                </a:extLst>
              </p:cNvPr>
              <p:cNvSpPr/>
              <p:nvPr/>
            </p:nvSpPr>
            <p:spPr bwMode="auto">
              <a:xfrm>
                <a:off x="8668919" y="3404317"/>
                <a:ext cx="3001971" cy="491017"/>
              </a:xfrm>
              <a:prstGeom prst="rect">
                <a:avLst/>
              </a:prstGeom>
              <a:solidFill>
                <a:schemeClr val="accent4">
                  <a:lumMod val="20000"/>
                  <a:lumOff val="80000"/>
                  <a:alpha val="7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dirty="0">
                  <a:ln>
                    <a:noFill/>
                  </a:ln>
                  <a:solidFill>
                    <a:schemeClr val="tx1"/>
                  </a:solidFill>
                  <a:effectLst/>
                  <a:latin typeface="Arial" charset="0"/>
                </a:endParaRPr>
              </a:p>
            </p:txBody>
          </p:sp>
          <p:sp>
            <p:nvSpPr>
              <p:cNvPr id="36" name="Rectangle 35">
                <a:extLst>
                  <a:ext uri="{FF2B5EF4-FFF2-40B4-BE49-F238E27FC236}">
                    <a16:creationId xmlns:a16="http://schemas.microsoft.com/office/drawing/2014/main" id="{400D79F5-DF12-E644-B9B1-054285444406}"/>
                  </a:ext>
                </a:extLst>
              </p:cNvPr>
              <p:cNvSpPr/>
              <p:nvPr/>
            </p:nvSpPr>
            <p:spPr>
              <a:xfrm>
                <a:off x="8668919" y="3411298"/>
                <a:ext cx="1682430" cy="230832"/>
              </a:xfrm>
              <a:prstGeom prst="rect">
                <a:avLst/>
              </a:prstGeom>
            </p:spPr>
            <p:txBody>
              <a:bodyPr wrap="none" lIns="108000">
                <a:spAutoFit/>
              </a:bodyPr>
              <a:lstStyle/>
              <a:p>
                <a:r>
                  <a:rPr lang="en-IN" sz="900" dirty="0">
                    <a:solidFill>
                      <a:schemeClr val="accent6"/>
                    </a:solidFill>
                  </a:rPr>
                  <a:t>Learn more about our </a:t>
                </a:r>
                <a:endParaRPr lang="en-US" sz="900" dirty="0">
                  <a:solidFill>
                    <a:schemeClr val="accent6"/>
                  </a:solidFill>
                </a:endParaRPr>
              </a:p>
            </p:txBody>
          </p:sp>
          <p:sp>
            <p:nvSpPr>
              <p:cNvPr id="37" name="Rectangle 36">
                <a:extLst>
                  <a:ext uri="{FF2B5EF4-FFF2-40B4-BE49-F238E27FC236}">
                    <a16:creationId xmlns:a16="http://schemas.microsoft.com/office/drawing/2014/main" id="{24888F52-B0CF-3940-B564-85E39E5602FC}"/>
                  </a:ext>
                </a:extLst>
              </p:cNvPr>
              <p:cNvSpPr/>
              <p:nvPr/>
            </p:nvSpPr>
            <p:spPr>
              <a:xfrm>
                <a:off x="8742980" y="3553401"/>
                <a:ext cx="2912450" cy="307777"/>
              </a:xfrm>
              <a:prstGeom prst="rect">
                <a:avLst/>
              </a:prstGeom>
            </p:spPr>
            <p:txBody>
              <a:bodyPr wrap="none" lIns="36000">
                <a:spAutoFit/>
              </a:bodyPr>
              <a:lstStyle/>
              <a:p>
                <a:r>
                  <a:rPr lang="en-IN" sz="1400" dirty="0">
                    <a:solidFill>
                      <a:schemeClr val="accent6"/>
                    </a:solidFill>
                  </a:rPr>
                  <a:t>custom research capabilities</a:t>
                </a:r>
              </a:p>
            </p:txBody>
          </p:sp>
        </p:grpSp>
        <p:sp>
          <p:nvSpPr>
            <p:cNvPr id="34" name="Rectangle 33">
              <a:extLst>
                <a:ext uri="{FF2B5EF4-FFF2-40B4-BE49-F238E27FC236}">
                  <a16:creationId xmlns:a16="http://schemas.microsoft.com/office/drawing/2014/main" id="{BB48E201-75E7-1144-90F6-74AA14094EF7}"/>
                </a:ext>
              </a:extLst>
            </p:cNvPr>
            <p:cNvSpPr/>
            <p:nvPr/>
          </p:nvSpPr>
          <p:spPr>
            <a:xfrm>
              <a:off x="9062356" y="5411524"/>
              <a:ext cx="3006184" cy="461665"/>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dirty="0">
                  <a:solidFill>
                    <a:schemeClr val="accent4">
                      <a:lumMod val="50000"/>
                    </a:schemeClr>
                  </a:solidFill>
                  <a:latin typeface="Arial"/>
                </a:rPr>
                <a:t>Tracking: providers, locations, risk, technologies</a:t>
              </a:r>
            </a:p>
          </p:txBody>
        </p:sp>
      </p:grpSp>
      <p:sp>
        <p:nvSpPr>
          <p:cNvPr id="38" name="Rectangle 37">
            <a:extLst>
              <a:ext uri="{FF2B5EF4-FFF2-40B4-BE49-F238E27FC236}">
                <a16:creationId xmlns:a16="http://schemas.microsoft.com/office/drawing/2014/main" id="{4F2940B8-E217-5244-821B-3BDC531035DD}"/>
              </a:ext>
            </a:extLst>
          </p:cNvPr>
          <p:cNvSpPr/>
          <p:nvPr/>
        </p:nvSpPr>
        <p:spPr bwMode="auto">
          <a:xfrm>
            <a:off x="0" y="1604113"/>
            <a:ext cx="12192000" cy="491017"/>
          </a:xfrm>
          <a:prstGeom prst="rect">
            <a:avLst/>
          </a:prstGeom>
          <a:solidFill>
            <a:schemeClr val="accent4">
              <a:lumMod val="20000"/>
              <a:lumOff val="80000"/>
              <a:alpha val="43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buClr>
                <a:schemeClr val="accent1"/>
              </a:buClr>
              <a:buSzPct val="60000"/>
            </a:pPr>
            <a:endParaRPr lang="en-US" dirty="0"/>
          </a:p>
        </p:txBody>
      </p:sp>
      <p:graphicFrame>
        <p:nvGraphicFramePr>
          <p:cNvPr id="39" name="Table 38">
            <a:extLst>
              <a:ext uri="{FF2B5EF4-FFF2-40B4-BE49-F238E27FC236}">
                <a16:creationId xmlns:a16="http://schemas.microsoft.com/office/drawing/2014/main" id="{A574658F-929E-004D-8D42-6A490C6F1373}"/>
              </a:ext>
            </a:extLst>
          </p:cNvPr>
          <p:cNvGraphicFramePr>
            <a:graphicFrameLocks noGrp="1"/>
          </p:cNvGraphicFramePr>
          <p:nvPr/>
        </p:nvGraphicFramePr>
        <p:xfrm>
          <a:off x="304798" y="1629566"/>
          <a:ext cx="7258756" cy="440046"/>
        </p:xfrm>
        <a:graphic>
          <a:graphicData uri="http://schemas.openxmlformats.org/drawingml/2006/table">
            <a:tbl>
              <a:tblPr firstRow="1" bandRow="1">
                <a:tableStyleId>{5C22544A-7EE6-4342-B048-85BDC9FD1C3A}</a:tableStyleId>
              </a:tblPr>
              <a:tblGrid>
                <a:gridCol w="7258756">
                  <a:extLst>
                    <a:ext uri="{9D8B030D-6E8A-4147-A177-3AD203B41FA5}">
                      <a16:colId xmlns:a16="http://schemas.microsoft.com/office/drawing/2014/main" val="1532193756"/>
                    </a:ext>
                  </a:extLst>
                </a:gridCol>
              </a:tblGrid>
              <a:tr h="0">
                <a:tc>
                  <a:txBody>
                    <a:bodyPr/>
                    <a:lstStyle/>
                    <a:p>
                      <a:pPr marL="0" marR="0" lvl="1" indent="0" algn="l" defTabSz="914400" rtl="0" eaLnBrk="1" fontAlgn="base" latinLnBrk="0" hangingPunct="1">
                        <a:lnSpc>
                          <a:spcPts val="1540"/>
                        </a:lnSpc>
                        <a:spcBef>
                          <a:spcPts val="0"/>
                        </a:spcBef>
                        <a:spcAft>
                          <a:spcPts val="0"/>
                        </a:spcAft>
                        <a:buClr>
                          <a:srgbClr val="005A8C"/>
                        </a:buClr>
                        <a:buSzPct val="70000"/>
                        <a:buFont typeface="Wingdings" panose="05000000000000000000" pitchFamily="2" charset="2"/>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Arial" charset="0"/>
                        </a:rPr>
                        <a:t>This report is included in the following research program(s): </a:t>
                      </a:r>
                    </a:p>
                    <a:p>
                      <a:pPr marL="0" marR="0" lvl="1" indent="0" algn="l" defTabSz="914400" rtl="0" eaLnBrk="1" fontAlgn="base" latinLnBrk="0" hangingPunct="1">
                        <a:lnSpc>
                          <a:spcPts val="1540"/>
                        </a:lnSpc>
                        <a:spcBef>
                          <a:spcPts val="0"/>
                        </a:spcBef>
                        <a:spcAft>
                          <a:spcPts val="0"/>
                        </a:spcAft>
                        <a:buClr>
                          <a:srgbClr val="005A8C"/>
                        </a:buClr>
                        <a:buSzPct val="70000"/>
                        <a:buFont typeface="Wingdings" panose="05000000000000000000" pitchFamily="2" charset="2"/>
                        <a:buNone/>
                        <a:tabLst/>
                        <a:defRPr/>
                      </a:pPr>
                      <a:r>
                        <a:rPr kumimoji="0" lang="en-US" sz="1200" b="0" i="0" u="none" strike="noStrike" kern="1200" cap="none" spc="0" normalizeH="0" baseline="0" noProof="0" dirty="0">
                          <a:ln>
                            <a:noFill/>
                          </a:ln>
                          <a:solidFill>
                            <a:schemeClr val="accent5"/>
                          </a:solidFill>
                          <a:effectLst/>
                          <a:uLnTx/>
                          <a:uFillTx/>
                          <a:latin typeface="+mn-lt"/>
                          <a:ea typeface="+mn-ea"/>
                          <a:cs typeface="Arial" charset="0"/>
                        </a:rPr>
                        <a:t>Engineering Services, Global Business Services</a:t>
                      </a:r>
                    </a:p>
                  </a:txBody>
                  <a:tcPr marL="0" marR="90000" marT="36000" marB="3600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208746"/>
                  </a:ext>
                </a:extLst>
              </a:tr>
            </a:tbl>
          </a:graphicData>
        </a:graphic>
      </p:graphicFrame>
      <p:sp>
        <p:nvSpPr>
          <p:cNvPr id="41" name="Rectangle 40">
            <a:hlinkClick r:id="rId3"/>
            <a:extLst>
              <a:ext uri="{FF2B5EF4-FFF2-40B4-BE49-F238E27FC236}">
                <a16:creationId xmlns:a16="http://schemas.microsoft.com/office/drawing/2014/main" id="{F28ACF26-25CF-2E49-B410-F230E7E7AB09}"/>
              </a:ext>
            </a:extLst>
          </p:cNvPr>
          <p:cNvSpPr/>
          <p:nvPr/>
        </p:nvSpPr>
        <p:spPr bwMode="auto">
          <a:xfrm>
            <a:off x="9440730" y="3518638"/>
            <a:ext cx="2450948" cy="44988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dirty="0">
              <a:ln>
                <a:noFill/>
              </a:ln>
              <a:solidFill>
                <a:schemeClr val="tx1"/>
              </a:solidFill>
              <a:effectLst/>
              <a:latin typeface="Arial" charset="0"/>
            </a:endParaRPr>
          </a:p>
        </p:txBody>
      </p:sp>
      <p:graphicFrame>
        <p:nvGraphicFramePr>
          <p:cNvPr id="42" name="Table 41">
            <a:extLst>
              <a:ext uri="{FF2B5EF4-FFF2-40B4-BE49-F238E27FC236}">
                <a16:creationId xmlns:a16="http://schemas.microsoft.com/office/drawing/2014/main" id="{E1D9B941-4BB2-6A41-A4E8-F1393FB9BEAD}"/>
              </a:ext>
            </a:extLst>
          </p:cNvPr>
          <p:cNvGraphicFramePr>
            <a:graphicFrameLocks noGrp="1"/>
          </p:cNvGraphicFramePr>
          <p:nvPr>
            <p:extLst>
              <p:ext uri="{D42A27DB-BD31-4B8C-83A1-F6EECF244321}">
                <p14:modId xmlns:p14="http://schemas.microsoft.com/office/powerpoint/2010/main" val="2820600218"/>
              </p:ext>
            </p:extLst>
          </p:nvPr>
        </p:nvGraphicFramePr>
        <p:xfrm>
          <a:off x="-2" y="2102887"/>
          <a:ext cx="10005647" cy="4292119"/>
        </p:xfrm>
        <a:graphic>
          <a:graphicData uri="http://schemas.openxmlformats.org/drawingml/2006/table">
            <a:tbl>
              <a:tblPr firstRow="1" bandRow="1">
                <a:tableStyleId>{5C22544A-7EE6-4342-B048-85BDC9FD1C3A}</a:tableStyleId>
              </a:tblPr>
              <a:tblGrid>
                <a:gridCol w="3601041">
                  <a:extLst>
                    <a:ext uri="{9D8B030D-6E8A-4147-A177-3AD203B41FA5}">
                      <a16:colId xmlns:a16="http://schemas.microsoft.com/office/drawing/2014/main" val="3503517894"/>
                    </a:ext>
                  </a:extLst>
                </a:gridCol>
                <a:gridCol w="3223967">
                  <a:extLst>
                    <a:ext uri="{9D8B030D-6E8A-4147-A177-3AD203B41FA5}">
                      <a16:colId xmlns:a16="http://schemas.microsoft.com/office/drawing/2014/main" val="4247411151"/>
                    </a:ext>
                  </a:extLst>
                </a:gridCol>
                <a:gridCol w="3180639">
                  <a:extLst>
                    <a:ext uri="{9D8B030D-6E8A-4147-A177-3AD203B41FA5}">
                      <a16:colId xmlns:a16="http://schemas.microsoft.com/office/drawing/2014/main" val="2396625214"/>
                    </a:ext>
                  </a:extLst>
                </a:gridCol>
              </a:tblGrid>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Application Services</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Financial Services Technology (FinTech)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Network Services and 5G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083443"/>
                  </a:ext>
                </a:extLst>
              </a:tr>
              <a:tr h="225901">
                <a:tc>
                  <a:txBody>
                    <a:bodyPr/>
                    <a:lstStyle/>
                    <a:p>
                      <a:pPr marL="171450" indent="-171450">
                        <a:buClr>
                          <a:schemeClr val="accent2"/>
                        </a:buClr>
                        <a:buSzPct val="70000"/>
                        <a:buFont typeface="Arial" panose="020B0604020202020204" pitchFamily="34" charset="0"/>
                        <a:buChar char="►"/>
                      </a:pPr>
                      <a:r>
                        <a:rPr lang="en-IN" sz="950" b="0" dirty="0">
                          <a:solidFill>
                            <a:schemeClr val="tx1"/>
                          </a:solidFill>
                        </a:rPr>
                        <a:t>Banking and Financial Services Business Process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Global Business Services</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kern="1200" dirty="0">
                          <a:solidFill>
                            <a:schemeClr val="tx1"/>
                          </a:solidFill>
                          <a:latin typeface="+mn-lt"/>
                          <a:ea typeface="+mn-ea"/>
                          <a:cs typeface="+mn-cs"/>
                        </a:rPr>
                        <a:t>Outsourcing Excellence</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015909"/>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rPr>
                        <a:t>Banking and Financial Services Information Technology</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Healthcare Business Process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kern="1200" dirty="0">
                          <a:solidFill>
                            <a:schemeClr val="tx1"/>
                          </a:solidFill>
                          <a:latin typeface="+mn-lt"/>
                          <a:ea typeface="+mn-ea"/>
                          <a:cs typeface="+mn-cs"/>
                        </a:rPr>
                        <a:t>Pricing-as-a-Service</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6771474"/>
                  </a:ext>
                </a:extLst>
              </a:tr>
              <a:tr h="225901">
                <a:tc>
                  <a:txBody>
                    <a:bodyPr/>
                    <a:lstStyle/>
                    <a:p>
                      <a:pPr marL="171450" indent="-171450">
                        <a:buClr>
                          <a:schemeClr val="accent2"/>
                        </a:buClr>
                        <a:buSzPct val="70000"/>
                        <a:buFont typeface="Arial" panose="020B0604020202020204" pitchFamily="34" charset="0"/>
                        <a:buChar char="►"/>
                      </a:pPr>
                      <a:r>
                        <a:rPr lang="en-IN" sz="950" b="0" dirty="0">
                          <a:solidFill>
                            <a:schemeClr val="tx1"/>
                          </a:solidFill>
                        </a:rPr>
                        <a:t>Catalyst™</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rPr>
                        <a:t>Healthcare Information Technology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kern="1200" dirty="0">
                          <a:solidFill>
                            <a:schemeClr val="tx1"/>
                          </a:solidFill>
                          <a:latin typeface="+mn-lt"/>
                          <a:ea typeface="+mn-ea"/>
                          <a:cs typeface="+mn-cs"/>
                        </a:rPr>
                        <a:t>Process Mining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4059258"/>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kern="1200" dirty="0">
                          <a:solidFill>
                            <a:schemeClr val="tx1"/>
                          </a:solidFill>
                          <a:latin typeface="+mn-lt"/>
                          <a:ea typeface="+mn-ea"/>
                          <a:cs typeface="+mn-cs"/>
                        </a:rPr>
                        <a:t>Clinical Development Technology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Human Resources Outsourcing</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Procurement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8910868"/>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Cloud and Infrastructure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kern="1200" dirty="0">
                          <a:solidFill>
                            <a:schemeClr val="tx1"/>
                          </a:solidFill>
                          <a:latin typeface="+mn-lt"/>
                          <a:ea typeface="+mn-ea"/>
                          <a:cs typeface="+mn-cs"/>
                        </a:rPr>
                        <a:t>Insurance Business Process </a:t>
                      </a:r>
                      <a:endParaRPr lang="en-US" sz="950" b="0" dirty="0">
                        <a:solidFill>
                          <a:schemeClr val="tx1"/>
                        </a:solidFill>
                        <a:latin typeface="+mn-lt"/>
                      </a:endParaRP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IN" sz="950" b="0" dirty="0">
                          <a:solidFill>
                            <a:schemeClr val="tx1"/>
                          </a:solidFill>
                        </a:rPr>
                        <a:t>Recruitment</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2784519"/>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Contingent Staffing</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rPr>
                        <a:t>Insurance Information Technology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Retirements Technologies</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9941755"/>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Contingent Workforce Management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kumimoji="0" lang="en-US" sz="950" b="0" i="0" u="none" strike="noStrike" kern="1200" cap="none" spc="0" normalizeH="0" baseline="0" noProof="0" dirty="0">
                          <a:ln>
                            <a:noFill/>
                          </a:ln>
                          <a:solidFill>
                            <a:schemeClr val="tx1"/>
                          </a:solidFill>
                          <a:effectLst/>
                          <a:uLnTx/>
                          <a:uFillTx/>
                          <a:latin typeface="+mn-lt"/>
                          <a:ea typeface="+mn-ea"/>
                          <a:cs typeface="Arial" charset="0"/>
                        </a:rPr>
                        <a:t>Insurance Technology (InsurTech)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IN" sz="950" b="0" dirty="0">
                          <a:solidFill>
                            <a:schemeClr val="tx1"/>
                          </a:solidFill>
                        </a:rPr>
                        <a:t>Rewards and Recognition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0707031"/>
                  </a:ext>
                </a:extLst>
              </a:tr>
              <a:tr h="225901">
                <a:tc>
                  <a:txBody>
                    <a:bodyPr/>
                    <a:lstStyle/>
                    <a:p>
                      <a:pPr marL="171450" indent="-171450">
                        <a:buClr>
                          <a:schemeClr val="accent2"/>
                        </a:buClr>
                        <a:buSzPct val="70000"/>
                        <a:buFont typeface="Arial" panose="020B0604020202020204" pitchFamily="34" charset="0"/>
                        <a:buChar char="►"/>
                      </a:pPr>
                      <a:r>
                        <a:rPr lang="en-IN" sz="950" b="0" dirty="0">
                          <a:solidFill>
                            <a:schemeClr val="tx1"/>
                          </a:solidFill>
                        </a:rPr>
                        <a:t>Conversational AI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sym typeface="Wingdings 3" panose="05040102010807070707" pitchFamily="18" charset="2"/>
                        </a:rPr>
                        <a:t>Insurance Third-Party Administration (TPA) Services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Service Optimization Technologies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9389315"/>
                  </a:ext>
                </a:extLst>
              </a:tr>
              <a:tr h="225901">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Customer Experience Management Services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sym typeface="Wingdings 3" panose="05040102010807070707" pitchFamily="18" charset="2"/>
                        </a:rPr>
                        <a:t>Intelligent Document Processing (IDP)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Software Product Engineering Services</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8196679"/>
                  </a:ext>
                </a:extLst>
              </a:tr>
              <a:tr h="225901">
                <a:tc>
                  <a:txBody>
                    <a:bodyPr/>
                    <a:lstStyle/>
                    <a:p>
                      <a:pPr marL="171450" indent="-171450">
                        <a:buClr>
                          <a:schemeClr val="accent2"/>
                        </a:buClr>
                        <a:buSzPct val="70000"/>
                        <a:buFont typeface="Arial" panose="020B0604020202020204" pitchFamily="34" charset="0"/>
                        <a:buChar char="►"/>
                      </a:pPr>
                      <a:r>
                        <a:rPr lang="en-US" sz="950" b="0" dirty="0">
                          <a:solidFill>
                            <a:schemeClr val="tx1"/>
                          </a:solidFill>
                          <a:latin typeface="+mn-lt"/>
                        </a:rPr>
                        <a:t>Cybersecurity </a:t>
                      </a:r>
                      <a:endParaRPr lang="en-IN" sz="950" b="0" dirty="0">
                        <a:solidFill>
                          <a:schemeClr val="tx1"/>
                        </a:solidFill>
                      </a:endParaRP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kern="1200" dirty="0">
                          <a:solidFill>
                            <a:schemeClr val="tx1"/>
                          </a:solidFill>
                          <a:latin typeface="+mn-lt"/>
                          <a:ea typeface="+mn-ea"/>
                          <a:cs typeface="+mn-cs"/>
                          <a:sym typeface="Wingdings 3" panose="05040102010807070707" pitchFamily="18" charset="2"/>
                        </a:rPr>
                        <a:t>Interactive Experience (IX) Services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SzPct val="70000"/>
                        <a:buFont typeface="Arial" panose="020B0604020202020204" pitchFamily="34" charset="0"/>
                        <a:buChar char="►"/>
                      </a:pPr>
                      <a:r>
                        <a:rPr lang="en-US" sz="950" b="0" dirty="0">
                          <a:solidFill>
                            <a:schemeClr val="tx1"/>
                          </a:solidFill>
                          <a:latin typeface="+mn-lt"/>
                        </a:rPr>
                        <a:t>Supply Chain Management (SCM) Services </a:t>
                      </a:r>
                      <a:endParaRPr lang="en-IN" sz="950" b="0" dirty="0">
                        <a:solidFill>
                          <a:schemeClr val="tx1"/>
                        </a:solidFill>
                      </a:endParaRP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484098"/>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Data and Analytics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IT Services Executive Insights™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Sustainability Technology and Services</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432266"/>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Digital Adoption Platforms (DAP)</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Life Sciences Business Process</a:t>
                      </a:r>
                      <a:endParaRPr lang="en-US" sz="950" b="0" dirty="0">
                        <a:solidFill>
                          <a:schemeClr val="tx1"/>
                        </a:solidFill>
                        <a:latin typeface="+mn-lt"/>
                      </a:endParaRP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Talent Excellence GBS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2007253"/>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Digital Engineering Services</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rPr>
                        <a:t>Life Sciences Information Technology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Talent Excellence ITS </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6268032"/>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Digital Services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Locations Insider™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Technology Skills and Talent</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161073"/>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Digital Workplace</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Marketing Services</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Trust and Safety</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10561"/>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Engineering Services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Market Vista™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rowSpan="3">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Work at Home Agent (WAHA) Customer </a:t>
                      </a:r>
                      <a:br>
                        <a:rPr lang="en-IN" sz="950" b="0" dirty="0">
                          <a:solidFill>
                            <a:schemeClr val="tx1"/>
                          </a:solidFill>
                        </a:rPr>
                      </a:br>
                      <a:r>
                        <a:rPr lang="en-IN" sz="950" b="0" dirty="0">
                          <a:solidFill>
                            <a:schemeClr val="tx1"/>
                          </a:solidFill>
                        </a:rPr>
                        <a:t>Experience Management (CXM)</a:t>
                      </a: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7563990"/>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Enterprise Platform Services </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dirty="0">
                          <a:solidFill>
                            <a:schemeClr val="tx1"/>
                          </a:solidFill>
                        </a:rPr>
                        <a:t>Mortgage Operations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endParaRPr lang="en-IN" sz="950" b="0" dirty="0">
                        <a:solidFill>
                          <a:schemeClr val="tx1"/>
                        </a:solidFill>
                      </a:endParaRP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84527139"/>
                  </a:ext>
                </a:extLst>
              </a:tr>
              <a:tr h="225901">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950" b="0" kern="1200" dirty="0">
                          <a:solidFill>
                            <a:schemeClr val="tx1"/>
                          </a:solidFill>
                          <a:latin typeface="+mn-lt"/>
                          <a:ea typeface="+mn-ea"/>
                          <a:cs typeface="+mn-cs"/>
                        </a:rPr>
                        <a:t>Finance and Accounting</a:t>
                      </a:r>
                    </a:p>
                  </a:txBody>
                  <a:tcPr marL="306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950" b="0" dirty="0">
                          <a:solidFill>
                            <a:schemeClr val="tx1"/>
                          </a:solidFill>
                          <a:latin typeface="+mn-lt"/>
                        </a:rPr>
                        <a:t>Multi-country Payroll </a:t>
                      </a:r>
                    </a:p>
                  </a:txBody>
                  <a:tcPr marL="108000" marR="91535"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endParaRPr lang="en-IN" sz="950" b="0" dirty="0">
                        <a:solidFill>
                          <a:schemeClr val="tx1"/>
                        </a:solidFill>
                      </a:endParaRPr>
                    </a:p>
                  </a:txBody>
                  <a:tcPr marL="54000" marR="90000" marT="36576" marB="36576">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5127378"/>
                  </a:ext>
                </a:extLst>
              </a:tr>
            </a:tbl>
          </a:graphicData>
        </a:graphic>
      </p:graphicFrame>
    </p:spTree>
    <p:extLst>
      <p:ext uri="{BB962C8B-B14F-4D97-AF65-F5344CB8AC3E}">
        <p14:creationId xmlns:p14="http://schemas.microsoft.com/office/powerpoint/2010/main" val="25906406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5492694-838B-43DE-A789-8E3EDBD2CAC6}"/>
              </a:ext>
            </a:extLst>
          </p:cNvPr>
          <p:cNvGraphicFramePr>
            <a:graphicFrameLocks noGrp="1"/>
          </p:cNvGraphicFramePr>
          <p:nvPr/>
        </p:nvGraphicFramePr>
        <p:xfrm>
          <a:off x="310262" y="5000189"/>
          <a:ext cx="3013387" cy="975360"/>
        </p:xfrm>
        <a:graphic>
          <a:graphicData uri="http://schemas.openxmlformats.org/drawingml/2006/table">
            <a:tbl>
              <a:tblPr firstRow="1" bandRow="1">
                <a:tableStyleId>{5C22544A-7EE6-4342-B048-85BDC9FD1C3A}</a:tableStyleId>
              </a:tblPr>
              <a:tblGrid>
                <a:gridCol w="3013387">
                  <a:extLst>
                    <a:ext uri="{9D8B030D-6E8A-4147-A177-3AD203B41FA5}">
                      <a16:colId xmlns:a16="http://schemas.microsoft.com/office/drawing/2014/main" val="2490264720"/>
                    </a:ext>
                  </a:extLst>
                </a:gridCol>
              </a:tblGrid>
              <a:tr h="171123">
                <a:tc>
                  <a:txBody>
                    <a:bodyPr/>
                    <a:lstStyle/>
                    <a:p>
                      <a:pPr algn="l"/>
                      <a:r>
                        <a:rPr lang="en-US" sz="1000" b="1" u="none" dirty="0">
                          <a:solidFill>
                            <a:schemeClr val="bg1">
                              <a:lumMod val="50000"/>
                            </a:schemeClr>
                          </a:solidFill>
                        </a:rPr>
                        <a:t>Akshat Vaid, </a:t>
                      </a:r>
                      <a:r>
                        <a:rPr lang="en-US" sz="1000" b="0" dirty="0">
                          <a:solidFill>
                            <a:schemeClr val="bg1">
                              <a:lumMod val="50000"/>
                            </a:schemeClr>
                          </a:solidFill>
                        </a:rPr>
                        <a:t>Vice President</a:t>
                      </a:r>
                      <a:endParaRPr lang="en-US" sz="1000" b="0" dirty="0">
                        <a:solidFill>
                          <a:schemeClr val="accent3"/>
                        </a:solidFill>
                      </a:endParaRP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877529"/>
                  </a:ext>
                </a:extLst>
              </a:tr>
              <a:tr h="0">
                <a:tc>
                  <a:txBody>
                    <a:bodyPr/>
                    <a:lstStyle/>
                    <a:p>
                      <a:pPr algn="l"/>
                      <a:r>
                        <a:rPr lang="en-US" sz="1000" b="1" dirty="0">
                          <a:solidFill>
                            <a:schemeClr val="bg1">
                              <a:lumMod val="50000"/>
                            </a:schemeClr>
                          </a:solidFill>
                        </a:rPr>
                        <a:t>Anish Agarwal,</a:t>
                      </a:r>
                      <a:r>
                        <a:rPr lang="en-US" sz="1000" b="0" dirty="0">
                          <a:solidFill>
                            <a:schemeClr val="bg1">
                              <a:lumMod val="50000"/>
                            </a:schemeClr>
                          </a:solidFill>
                        </a:rPr>
                        <a:t> Practice Director</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7409778"/>
                  </a:ext>
                </a:extLst>
              </a:tr>
              <a:tr h="0">
                <a:tc>
                  <a:txBody>
                    <a:bodyPr/>
                    <a:lstStyle/>
                    <a:p>
                      <a:pPr algn="l"/>
                      <a:r>
                        <a:rPr lang="en-US" sz="1000" b="1" dirty="0">
                          <a:solidFill>
                            <a:schemeClr val="bg1">
                              <a:lumMod val="50000"/>
                            </a:schemeClr>
                          </a:solidFill>
                        </a:rPr>
                        <a:t>Mayank Maria,</a:t>
                      </a:r>
                      <a:r>
                        <a:rPr lang="en-US" sz="1000" b="0" dirty="0">
                          <a:solidFill>
                            <a:schemeClr val="bg1">
                              <a:lumMod val="50000"/>
                            </a:schemeClr>
                          </a:solidFill>
                        </a:rPr>
                        <a:t> Practice Director</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9101190"/>
                  </a:ext>
                </a:extLst>
              </a:tr>
              <a:tr h="0">
                <a:tc>
                  <a:txBody>
                    <a:bodyPr/>
                    <a:lstStyle/>
                    <a:p>
                      <a:pPr algn="l">
                        <a:tabLst>
                          <a:tab pos="360363" algn="l"/>
                        </a:tabLst>
                      </a:pPr>
                      <a:r>
                        <a:rPr lang="en-US" sz="1000" b="1" dirty="0">
                          <a:solidFill>
                            <a:schemeClr val="bg1">
                              <a:lumMod val="50000"/>
                            </a:schemeClr>
                          </a:solidFill>
                        </a:rPr>
                        <a:t>Ojas Rajpal,</a:t>
                      </a:r>
                      <a:r>
                        <a:rPr lang="en-US" sz="1000" b="0" dirty="0">
                          <a:solidFill>
                            <a:schemeClr val="bg1">
                              <a:lumMod val="50000"/>
                            </a:schemeClr>
                          </a:solidFill>
                        </a:rPr>
                        <a:t> Senior Analyst</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8554491"/>
                  </a:ext>
                </a:extLst>
              </a:tr>
            </a:tbl>
          </a:graphicData>
        </a:graphic>
      </p:graphicFrame>
      <p:sp>
        <p:nvSpPr>
          <p:cNvPr id="4" name="Rectangle 3">
            <a:hlinkClick r:id="rId3"/>
            <a:extLst>
              <a:ext uri="{FF2B5EF4-FFF2-40B4-BE49-F238E27FC236}">
                <a16:creationId xmlns:a16="http://schemas.microsoft.com/office/drawing/2014/main" id="{02848FB5-117F-AC46-835B-81AC139EA749}"/>
              </a:ext>
            </a:extLst>
          </p:cNvPr>
          <p:cNvSpPr/>
          <p:nvPr/>
        </p:nvSpPr>
        <p:spPr bwMode="auto">
          <a:xfrm>
            <a:off x="306832" y="5754301"/>
            <a:ext cx="1636268" cy="199796"/>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5" name="Rectangle 4">
            <a:hlinkClick r:id="rId4"/>
            <a:extLst>
              <a:ext uri="{FF2B5EF4-FFF2-40B4-BE49-F238E27FC236}">
                <a16:creationId xmlns:a16="http://schemas.microsoft.com/office/drawing/2014/main" id="{3292790F-C0A8-2146-B29B-EDEB5AFF593D}"/>
              </a:ext>
            </a:extLst>
          </p:cNvPr>
          <p:cNvSpPr/>
          <p:nvPr/>
        </p:nvSpPr>
        <p:spPr bwMode="auto">
          <a:xfrm>
            <a:off x="306832" y="5529346"/>
            <a:ext cx="1917622" cy="18176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8" name="Rectangle 7">
            <a:hlinkClick r:id="rId5"/>
            <a:extLst>
              <a:ext uri="{FF2B5EF4-FFF2-40B4-BE49-F238E27FC236}">
                <a16:creationId xmlns:a16="http://schemas.microsoft.com/office/drawing/2014/main" id="{87B7CDE5-CACA-D840-9C60-3863727B4DA0}"/>
              </a:ext>
            </a:extLst>
          </p:cNvPr>
          <p:cNvSpPr/>
          <p:nvPr/>
        </p:nvSpPr>
        <p:spPr bwMode="auto">
          <a:xfrm>
            <a:off x="306832" y="5286362"/>
            <a:ext cx="1917622" cy="18176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sp>
        <p:nvSpPr>
          <p:cNvPr id="9" name="Rectangle 8">
            <a:hlinkClick r:id="rId6"/>
            <a:extLst>
              <a:ext uri="{FF2B5EF4-FFF2-40B4-BE49-F238E27FC236}">
                <a16:creationId xmlns:a16="http://schemas.microsoft.com/office/drawing/2014/main" id="{BD7191A1-AE0A-334C-99BA-0425442B51F7}"/>
              </a:ext>
            </a:extLst>
          </p:cNvPr>
          <p:cNvSpPr/>
          <p:nvPr/>
        </p:nvSpPr>
        <p:spPr bwMode="auto">
          <a:xfrm>
            <a:off x="306832" y="5043377"/>
            <a:ext cx="1636268" cy="18176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dirty="0">
              <a:ln>
                <a:noFill/>
              </a:ln>
              <a:solidFill>
                <a:schemeClr val="tx1"/>
              </a:solidFill>
              <a:effectLst/>
              <a:latin typeface="Arial" charset="0"/>
            </a:endParaRPr>
          </a:p>
        </p:txBody>
      </p:sp>
      <p:graphicFrame>
        <p:nvGraphicFramePr>
          <p:cNvPr id="10" name="Table 33">
            <a:extLst>
              <a:ext uri="{FF2B5EF4-FFF2-40B4-BE49-F238E27FC236}">
                <a16:creationId xmlns:a16="http://schemas.microsoft.com/office/drawing/2014/main" id="{5ADEA737-7FE4-B440-8699-3137B0815D00}"/>
              </a:ext>
            </a:extLst>
          </p:cNvPr>
          <p:cNvGraphicFramePr>
            <a:graphicFrameLocks noGrp="1"/>
          </p:cNvGraphicFramePr>
          <p:nvPr>
            <p:extLst>
              <p:ext uri="{D42A27DB-BD31-4B8C-83A1-F6EECF244321}">
                <p14:modId xmlns:p14="http://schemas.microsoft.com/office/powerpoint/2010/main" val="3333786036"/>
              </p:ext>
            </p:extLst>
          </p:nvPr>
        </p:nvGraphicFramePr>
        <p:xfrm>
          <a:off x="4037107" y="1161226"/>
          <a:ext cx="7348724" cy="5156420"/>
        </p:xfrm>
        <a:graphic>
          <a:graphicData uri="http://schemas.openxmlformats.org/drawingml/2006/table">
            <a:tbl>
              <a:tblPr>
                <a:tableStyleId>{5C22544A-7EE6-4342-B048-85BDC9FD1C3A}</a:tableStyleId>
              </a:tblPr>
              <a:tblGrid>
                <a:gridCol w="305594">
                  <a:extLst>
                    <a:ext uri="{9D8B030D-6E8A-4147-A177-3AD203B41FA5}">
                      <a16:colId xmlns:a16="http://schemas.microsoft.com/office/drawing/2014/main" val="137393273"/>
                    </a:ext>
                  </a:extLst>
                </a:gridCol>
                <a:gridCol w="6624914">
                  <a:extLst>
                    <a:ext uri="{9D8B030D-6E8A-4147-A177-3AD203B41FA5}">
                      <a16:colId xmlns:a16="http://schemas.microsoft.com/office/drawing/2014/main" val="1697316569"/>
                    </a:ext>
                  </a:extLst>
                </a:gridCol>
                <a:gridCol w="418216">
                  <a:extLst>
                    <a:ext uri="{9D8B030D-6E8A-4147-A177-3AD203B41FA5}">
                      <a16:colId xmlns:a16="http://schemas.microsoft.com/office/drawing/2014/main" val="2481023271"/>
                    </a:ext>
                  </a:extLst>
                </a:gridCol>
              </a:tblGrid>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latin typeface="+mn-lt"/>
                          <a:ea typeface="+mn-ea"/>
                          <a:cs typeface="+mn-cs"/>
                        </a:rPr>
                        <a:t>1.</a:t>
                      </a:r>
                      <a:endParaRPr lang="en-IN" sz="1000" b="1" kern="0" dirty="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rPr>
                        <a:t>Introduction and overview</a:t>
                      </a:r>
                      <a:endParaRPr lang="en-IN" sz="1000" b="0" dirty="0">
                        <a:solidFill>
                          <a:schemeClr val="tx1"/>
                        </a:solidFill>
                      </a:endParaRPr>
                    </a:p>
                  </a:txBody>
                  <a:tcPr marL="0" marT="0" marB="0" anchor="ctr">
                    <a:lnL w="12700" cmpd="sng">
                      <a:noFill/>
                    </a:lnL>
                    <a:lnR w="6350" cap="flat" cmpd="sng" algn="ctr">
                      <a:noFill/>
                      <a:prstDash val="lgDash"/>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kern="0" dirty="0">
                          <a:solidFill>
                            <a:schemeClr val="tx1"/>
                          </a:solidFill>
                          <a:latin typeface="+mn-lt"/>
                          <a:ea typeface="+mn-ea"/>
                          <a:cs typeface="+mn-cs"/>
                        </a:rPr>
                        <a:t>4</a:t>
                      </a:r>
                      <a:endParaRPr lang="en-IN" sz="1000" b="1"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0351584"/>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dirty="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dirty="0">
                          <a:solidFill>
                            <a:schemeClr val="tx1"/>
                          </a:solidFill>
                        </a:rPr>
                        <a:t>Background and introduction</a:t>
                      </a:r>
                      <a:endParaRPr lang="en-IN" sz="1000" dirty="0">
                        <a:solidFill>
                          <a:schemeClr val="tx1"/>
                        </a:solidFill>
                      </a:endParaRPr>
                    </a:p>
                  </a:txBody>
                  <a:tcPr marL="0" marT="0" marB="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dirty="0">
                          <a:solidFill>
                            <a:schemeClr val="tx1"/>
                          </a:solidFill>
                          <a:latin typeface="+mn-lt"/>
                          <a:ea typeface="+mn-ea"/>
                          <a:cs typeface="+mn-cs"/>
                        </a:rPr>
                        <a:t>5</a:t>
                      </a:r>
                      <a:endParaRPr lang="en-IN" sz="1000"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221733"/>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dirty="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dirty="0">
                          <a:solidFill>
                            <a:schemeClr val="tx1"/>
                          </a:solidFill>
                        </a:rPr>
                        <a:t>Focus of the research</a:t>
                      </a:r>
                      <a:endParaRPr lang="en-IN" sz="1000" dirty="0">
                        <a:solidFill>
                          <a:schemeClr val="tx1"/>
                        </a:solidFill>
                      </a:endParaRPr>
                    </a:p>
                  </a:txBody>
                  <a:tcPr marL="0" marT="0" marB="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dirty="0">
                          <a:solidFill>
                            <a:schemeClr val="tx1"/>
                          </a:solidFill>
                          <a:latin typeface="+mn-lt"/>
                          <a:ea typeface="+mn-ea"/>
                          <a:cs typeface="+mn-cs"/>
                        </a:rPr>
                        <a:t>6</a:t>
                      </a:r>
                      <a:endParaRPr lang="en-IN" sz="1000" kern="0" dirty="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130965"/>
                  </a:ext>
                </a:extLst>
              </a:tr>
              <a:tr h="257821">
                <a:tc>
                  <a:txBody>
                    <a:bodyPr/>
                    <a:lstStyle/>
                    <a:p>
                      <a:pPr>
                        <a:lnSpc>
                          <a:spcPct val="100000"/>
                        </a:lnSpc>
                      </a:pPr>
                      <a:r>
                        <a:rPr lang="en-US" sz="1000" b="1" kern="0" dirty="0">
                          <a:solidFill>
                            <a:schemeClr val="tx1"/>
                          </a:solidFill>
                          <a:latin typeface="+mn-lt"/>
                          <a:ea typeface="+mn-ea"/>
                          <a:cs typeface="+mn-cs"/>
                        </a:rPr>
                        <a:t>2.</a:t>
                      </a: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dirty="0">
                          <a:solidFill>
                            <a:schemeClr val="tx1"/>
                          </a:solidFill>
                        </a:rPr>
                        <a:t>The world of engineering as it stands today</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b="1" kern="0" dirty="0">
                          <a:solidFill>
                            <a:schemeClr val="tx1"/>
                          </a:solidFill>
                          <a:latin typeface="+mn-lt"/>
                          <a:ea typeface="+mn-ea"/>
                          <a:cs typeface="+mn-cs"/>
                        </a:rPr>
                        <a:t>7</a:t>
                      </a: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5654377"/>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dirty="0">
                          <a:solidFill>
                            <a:schemeClr val="tx1"/>
                          </a:solidFill>
                          <a:latin typeface="+mn-lt"/>
                          <a:ea typeface="+mn-ea"/>
                          <a:cs typeface="+mn-cs"/>
                        </a:rPr>
                        <a:t>Summary of key messages</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kern="0" dirty="0">
                          <a:solidFill>
                            <a:schemeClr val="tx1"/>
                          </a:solidFill>
                          <a:latin typeface="+mn-lt"/>
                          <a:ea typeface="+mn-ea"/>
                          <a:cs typeface="+mn-cs"/>
                        </a:rPr>
                        <a:t>8</a:t>
                      </a:r>
                      <a:endParaRPr lang="en-IN" sz="1000"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4788234"/>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dirty="0">
                          <a:solidFill>
                            <a:schemeClr val="tx1"/>
                          </a:solidFill>
                          <a:latin typeface="+mn-lt"/>
                          <a:ea typeface="+mn-ea"/>
                          <a:cs typeface="+mn-cs"/>
                        </a:rPr>
                        <a:t>Global ER&amp;D spending and growth dynamics</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kern="0" dirty="0">
                          <a:solidFill>
                            <a:schemeClr val="tx1"/>
                          </a:solidFill>
                          <a:latin typeface="+mn-lt"/>
                          <a:ea typeface="+mn-ea"/>
                          <a:cs typeface="+mn-cs"/>
                        </a:rPr>
                        <a:t>9</a:t>
                      </a:r>
                      <a:endParaRPr lang="en-IN" sz="1000" kern="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003660"/>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dirty="0">
                          <a:solidFill>
                            <a:schemeClr val="tx1"/>
                          </a:solidFill>
                          <a:latin typeface="+mn-lt"/>
                          <a:ea typeface="+mn-ea"/>
                          <a:cs typeface="+mn-cs"/>
                        </a:rPr>
                        <a:t>The rising relevance of digital engineering</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0</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2964171"/>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dirty="0">
                          <a:solidFill>
                            <a:schemeClr val="tx1"/>
                          </a:solidFill>
                          <a:latin typeface="+mn-lt"/>
                          <a:ea typeface="+mn-ea"/>
                          <a:cs typeface="+mn-cs"/>
                        </a:rPr>
                        <a:t>Global ER&amp;D talent dynamics and relevance of global sourcing</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dirty="0">
                          <a:solidFill>
                            <a:schemeClr val="tx1"/>
                          </a:solidFill>
                          <a:latin typeface="+mn-lt"/>
                          <a:ea typeface="+mn-ea"/>
                          <a:cs typeface="+mn-cs"/>
                        </a:rPr>
                        <a:t>13</a:t>
                      </a:r>
                      <a:endParaRPr lang="en-IN" sz="1000" kern="0" noProof="0" dirty="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7107512"/>
                  </a:ext>
                </a:extLst>
              </a:tr>
              <a:tr h="257821">
                <a:tc>
                  <a:txBody>
                    <a:bodyPr/>
                    <a:lstStyle/>
                    <a:p>
                      <a:pPr>
                        <a:lnSpc>
                          <a:spcPct val="100000"/>
                        </a:lnSpc>
                      </a:pPr>
                      <a:r>
                        <a:rPr lang="en-US" sz="1000" b="1" kern="0" dirty="0">
                          <a:solidFill>
                            <a:schemeClr val="tx1"/>
                          </a:solidFill>
                          <a:latin typeface="+mn-lt"/>
                          <a:ea typeface="+mn-ea"/>
                          <a:cs typeface="+mn-cs"/>
                        </a:rPr>
                        <a:t>3.</a:t>
                      </a: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dirty="0">
                          <a:solidFill>
                            <a:schemeClr val="tx1"/>
                          </a:solidFill>
                        </a:rPr>
                        <a:t>Decoding the engineering outsourcing best practices</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1" kern="0" noProof="0" dirty="0">
                          <a:solidFill>
                            <a:schemeClr val="tx1"/>
                          </a:solidFill>
                          <a:latin typeface="+mn-lt"/>
                          <a:ea typeface="+mn-ea"/>
                          <a:cs typeface="+mn-cs"/>
                        </a:rPr>
                        <a:t>16</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2702839"/>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dirty="0">
                          <a:solidFill>
                            <a:schemeClr val="tx1"/>
                          </a:solidFill>
                          <a:latin typeface="+mn-lt"/>
                          <a:ea typeface="+mn-ea"/>
                          <a:cs typeface="+mn-cs"/>
                        </a:rPr>
                        <a:t>Factors driving evolution of engineering outsourcing</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17</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9885802"/>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dirty="0">
                          <a:solidFill>
                            <a:schemeClr val="tx1"/>
                          </a:solidFill>
                        </a:rPr>
                        <a:t>Crucial dimensions for enhancing realizable value from outsourcing ecosystem</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18</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4492328"/>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US" sz="1000" kern="1200" dirty="0">
                          <a:solidFill>
                            <a:schemeClr val="tx1"/>
                          </a:solidFill>
                          <a:latin typeface="+mn-lt"/>
                          <a:ea typeface="+mn-ea"/>
                          <a:cs typeface="+mn-cs"/>
                        </a:rPr>
                        <a:t>Factors for determining the suitability of engineering workstreams to outsourcing</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19</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2430647"/>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US" sz="1000" kern="1200" dirty="0">
                          <a:solidFill>
                            <a:schemeClr val="tx1"/>
                          </a:solidFill>
                          <a:latin typeface="+mn-lt"/>
                          <a:ea typeface="+mn-ea"/>
                          <a:cs typeface="+mn-cs"/>
                        </a:rPr>
                        <a:t>Suitable locations and delivery models for engineering workstreams</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25</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7364554"/>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US" sz="1000" kern="1200" dirty="0">
                          <a:solidFill>
                            <a:schemeClr val="tx1"/>
                          </a:solidFill>
                          <a:latin typeface="+mn-lt"/>
                          <a:ea typeface="+mn-ea"/>
                          <a:cs typeface="+mn-cs"/>
                        </a:rPr>
                        <a:t>Typical considerations for selecting an outsourcing partner and ways to categorize them</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31</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838755"/>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US" sz="1000" kern="1200" dirty="0">
                          <a:solidFill>
                            <a:schemeClr val="tx1"/>
                          </a:solidFill>
                          <a:latin typeface="+mn-lt"/>
                          <a:ea typeface="+mn-ea"/>
                          <a:cs typeface="+mn-cs"/>
                        </a:rPr>
                        <a:t>Best practices around engagement and pricing models</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36</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4809758"/>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US" sz="1000" kern="1200" dirty="0">
                          <a:solidFill>
                            <a:schemeClr val="tx1"/>
                          </a:solidFill>
                          <a:latin typeface="+mn-lt"/>
                          <a:ea typeface="+mn-ea"/>
                          <a:cs typeface="+mn-cs"/>
                        </a:rPr>
                        <a:t>Ways to monitor and manage the performance of outsourcing partners</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40</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60188157"/>
                  </a:ext>
                </a:extLst>
              </a:tr>
              <a:tr h="257821">
                <a:tc>
                  <a:txBody>
                    <a:bodyPr/>
                    <a:lstStyle/>
                    <a:p>
                      <a:pPr>
                        <a:lnSpc>
                          <a:spcPct val="100000"/>
                        </a:lnSpc>
                      </a:pPr>
                      <a:r>
                        <a:rPr lang="en-IN" sz="1000" b="1" kern="0" dirty="0">
                          <a:solidFill>
                            <a:schemeClr val="tx1"/>
                          </a:solidFill>
                          <a:latin typeface="+mn-lt"/>
                          <a:ea typeface="+mn-ea"/>
                          <a:cs typeface="+mn-cs"/>
                        </a:rPr>
                        <a:t>4.</a:t>
                      </a: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dirty="0">
                          <a:solidFill>
                            <a:schemeClr val="tx1"/>
                          </a:solidFill>
                        </a:rPr>
                        <a:t>Appendix</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1" kern="0" noProof="0" dirty="0">
                          <a:solidFill>
                            <a:schemeClr val="tx1"/>
                          </a:solidFill>
                          <a:latin typeface="+mn-lt"/>
                          <a:ea typeface="+mn-ea"/>
                          <a:cs typeface="+mn-cs"/>
                        </a:rPr>
                        <a:t>47</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7835131"/>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Everest Group Engineering Services PEAK Matrix</a:t>
                      </a:r>
                      <a:r>
                        <a:rPr lang="en-US" sz="1000" baseline="30000"/>
                        <a:t>®</a:t>
                      </a:r>
                      <a:r>
                        <a:rPr lang="en-US" sz="1000" kern="0">
                          <a:solidFill>
                            <a:schemeClr val="tx1"/>
                          </a:solidFill>
                          <a:latin typeface="+mn-lt"/>
                          <a:ea typeface="+mn-ea"/>
                          <a:cs typeface="+mn-cs"/>
                        </a:rPr>
                        <a:t> Assessments </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48</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9594767"/>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Glossary</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57</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7976552"/>
                  </a:ext>
                </a:extLst>
              </a:tr>
              <a:tr h="257821">
                <a:tc>
                  <a:txBody>
                    <a:bodyPr/>
                    <a:lstStyle/>
                    <a:p>
                      <a:pPr>
                        <a:lnSpc>
                          <a:spcPct val="100000"/>
                        </a:lnSpc>
                      </a:pPr>
                      <a:endParaRPr lang="en-IN" sz="1000" b="1" kern="0" dirty="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dirty="0">
                          <a:solidFill>
                            <a:schemeClr val="tx1"/>
                          </a:solidFill>
                          <a:latin typeface="+mn-lt"/>
                          <a:ea typeface="+mn-ea"/>
                          <a:cs typeface="+mn-cs"/>
                        </a:rPr>
                        <a:t>Research calendar</a:t>
                      </a:r>
                      <a:endParaRPr lang="en-IN" sz="1000" kern="0" dirty="0">
                        <a:solidFill>
                          <a:schemeClr val="tx1"/>
                        </a:solidFill>
                        <a:latin typeface="+mn-lt"/>
                        <a:ea typeface="+mn-ea"/>
                        <a:cs typeface="+mn-cs"/>
                      </a:endParaRP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dirty="0">
                          <a:solidFill>
                            <a:schemeClr val="tx1"/>
                          </a:solidFill>
                          <a:latin typeface="+mn-lt"/>
                          <a:ea typeface="+mn-ea"/>
                          <a:cs typeface="+mn-cs"/>
                        </a:rPr>
                        <a:t>58</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4720857"/>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D91C91-052D-48C5-AC8A-522B7C7A26A1}"/>
              </a:ext>
            </a:extLst>
          </p:cNvPr>
          <p:cNvSpPr>
            <a:spLocks noGrp="1"/>
          </p:cNvSpPr>
          <p:nvPr>
            <p:ph type="title"/>
          </p:nvPr>
        </p:nvSpPr>
        <p:spPr/>
        <p:txBody>
          <a:bodyPr/>
          <a:lstStyle/>
          <a:p>
            <a:r>
              <a:rPr lang="en-US" dirty="0"/>
              <a:t>Background and introduction</a:t>
            </a:r>
            <a:endParaRPr lang="en-US" b="0" dirty="0">
              <a:latin typeface="+mn-lt"/>
            </a:endParaRPr>
          </a:p>
        </p:txBody>
      </p:sp>
      <p:sp>
        <p:nvSpPr>
          <p:cNvPr id="86" name="Text Box 4">
            <a:extLst>
              <a:ext uri="{FF2B5EF4-FFF2-40B4-BE49-F238E27FC236}">
                <a16:creationId xmlns:a16="http://schemas.microsoft.com/office/drawing/2014/main" id="{14AD568D-5D94-4EBD-86CA-7D4115E8A06C}"/>
              </a:ext>
            </a:extLst>
          </p:cNvPr>
          <p:cNvSpPr txBox="1">
            <a:spLocks noChangeArrowheads="1"/>
          </p:cNvSpPr>
          <p:nvPr/>
        </p:nvSpPr>
        <p:spPr bwMode="gray">
          <a:xfrm>
            <a:off x="314325" y="1666875"/>
            <a:ext cx="11563350" cy="2551789"/>
          </a:xfrm>
          <a:prstGeom prst="rect">
            <a:avLst/>
          </a:prstGeom>
          <a:noFill/>
          <a:ln w="9525">
            <a:noFill/>
            <a:miter lim="800000"/>
            <a:headEnd/>
            <a:tailEnd/>
          </a:ln>
        </p:spPr>
        <p:txBody>
          <a:bodyPr wrap="square" lIns="0" tIns="0" rIns="0" bIns="0" numCol="1" spcCol="0">
            <a:spAutoFit/>
          </a:bodyPr>
          <a:lstStyle/>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dirty="0"/>
              <a:t>The global ER&amp;D space, which has traditionally been conservative in leveraging the global sourcing ecosystem, is now steadily opening up to it in order to meet the ever-increasing talent requirements across the dynamic skills landscape</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dirty="0"/>
              <a:t>Outsourcing service providers have made significant gains on the back of the changing enterprise mindset; wherein, they have been able to claim a larger share in the ER&amp;D spending pie by offering scaled talent pools in addition to proprietary solutions, infrastructure, and ecosystem access</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dirty="0"/>
              <a:t>Digital engineering, which is fundamentally changing the nature of ER&amp;D spending and driving its robust growth, has led engineering enterprises to further increase their reliance on the outsourcing ecosystem</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dirty="0"/>
              <a:t>Amid this increasing relevance of outsourcing partners and their involvement in strategic (digital engineering) workstreams, there is a need for enterprises to continually review how they engage with and manage these service providers</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dirty="0"/>
              <a:t>The Engineering Services Outsourcing Handbook lays out the engineering services landscape and discusses typical engineering outsourcing practices across topics such as outsourcing suitability factors, delivery models, vendor tiering practices, engagement and pricing constructs, and governance mechanisms</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dirty="0"/>
              <a:t>The handbook does not provide definite answers to all enterprise outsourcing considerations. It shares a view of typical practices across a variety of topics and aims to serve as a yardstick for enterprise decision-makers as they review their own outsourcing portfolio and practices</a:t>
            </a:r>
          </a:p>
        </p:txBody>
      </p:sp>
      <p:cxnSp>
        <p:nvCxnSpPr>
          <p:cNvPr id="76" name="Straight Connector 75">
            <a:extLst>
              <a:ext uri="{FF2B5EF4-FFF2-40B4-BE49-F238E27FC236}">
                <a16:creationId xmlns:a16="http://schemas.microsoft.com/office/drawing/2014/main" id="{D486DCA0-1432-44B9-B3CA-13245E3A9E19}"/>
              </a:ext>
            </a:extLst>
          </p:cNvPr>
          <p:cNvCxnSpPr>
            <a:cxnSpLocks/>
          </p:cNvCxnSpPr>
          <p:nvPr/>
        </p:nvCxnSpPr>
        <p:spPr bwMode="auto">
          <a:xfrm>
            <a:off x="2095500" y="4444234"/>
            <a:ext cx="9791698" cy="0"/>
          </a:xfrm>
          <a:prstGeom prst="line">
            <a:avLst/>
          </a:prstGeom>
          <a:noFill/>
          <a:ln w="6350" cap="flat" cmpd="sng" algn="ctr">
            <a:solidFill>
              <a:schemeClr val="bg1">
                <a:lumMod val="85000"/>
              </a:schemeClr>
            </a:solidFill>
            <a:prstDash val="solid"/>
            <a:round/>
            <a:headEnd type="none" w="med" len="med"/>
            <a:tailEnd type="none" w="med" len="med"/>
          </a:ln>
          <a:effectLst/>
        </p:spPr>
      </p:cxnSp>
      <p:grpSp>
        <p:nvGrpSpPr>
          <p:cNvPr id="82" name="Group 81">
            <a:extLst>
              <a:ext uri="{FF2B5EF4-FFF2-40B4-BE49-F238E27FC236}">
                <a16:creationId xmlns:a16="http://schemas.microsoft.com/office/drawing/2014/main" id="{EC44962B-575F-44C1-9E63-3E1549277507}"/>
              </a:ext>
            </a:extLst>
          </p:cNvPr>
          <p:cNvGrpSpPr/>
          <p:nvPr/>
        </p:nvGrpSpPr>
        <p:grpSpPr>
          <a:xfrm>
            <a:off x="-8761" y="4444234"/>
            <a:ext cx="2297190" cy="393209"/>
            <a:chOff x="1" y="3880621"/>
            <a:chExt cx="2297190" cy="393209"/>
          </a:xfrm>
        </p:grpSpPr>
        <p:sp>
          <p:nvSpPr>
            <p:cNvPr id="84" name="Arrow: Pentagon 83">
              <a:extLst>
                <a:ext uri="{FF2B5EF4-FFF2-40B4-BE49-F238E27FC236}">
                  <a16:creationId xmlns:a16="http://schemas.microsoft.com/office/drawing/2014/main" id="{2521F1C2-7439-492A-84C8-5E9664A7FD5D}"/>
                </a:ext>
              </a:extLst>
            </p:cNvPr>
            <p:cNvSpPr/>
            <p:nvPr/>
          </p:nvSpPr>
          <p:spPr>
            <a:xfrm>
              <a:off x="1" y="3880621"/>
              <a:ext cx="1996533" cy="393209"/>
            </a:xfrm>
            <a:prstGeom prst="homePlate">
              <a:avLst/>
            </a:prstGeom>
            <a:solidFill>
              <a:schemeClr val="bg1">
                <a:lumMod val="85000"/>
              </a:schemeClr>
            </a:solidFill>
          </p:spPr>
          <p:txBody>
            <a:bodyPr wrap="square" lIns="0" anchor="ctr">
              <a:noAutofit/>
            </a:bodyPr>
            <a:lstStyle/>
            <a:p>
              <a:pPr marL="28575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F3F3F"/>
                  </a:solidFill>
                  <a:effectLst/>
                  <a:uLnTx/>
                  <a:uFillTx/>
                  <a:latin typeface="Arial" charset="0"/>
                  <a:ea typeface="+mn-ea"/>
                  <a:cs typeface="Arial" charset="0"/>
                </a:rPr>
                <a:t>Scope of this report:</a:t>
              </a:r>
            </a:p>
          </p:txBody>
        </p:sp>
        <p:sp>
          <p:nvSpPr>
            <p:cNvPr id="85" name="Arrow: Chevron 84">
              <a:extLst>
                <a:ext uri="{FF2B5EF4-FFF2-40B4-BE49-F238E27FC236}">
                  <a16:creationId xmlns:a16="http://schemas.microsoft.com/office/drawing/2014/main" id="{ADA11F22-BE9D-4C4A-BEB8-C6F09DB579F0}"/>
                </a:ext>
              </a:extLst>
            </p:cNvPr>
            <p:cNvSpPr/>
            <p:nvPr/>
          </p:nvSpPr>
          <p:spPr bwMode="auto">
            <a:xfrm>
              <a:off x="1866415" y="3880621"/>
              <a:ext cx="298222" cy="393205"/>
            </a:xfrm>
            <a:prstGeom prst="chevron">
              <a:avLst>
                <a:gd name="adj" fmla="val 63442"/>
              </a:avLst>
            </a:prstGeom>
            <a:solidFill>
              <a:srgbClr val="D9D9D9">
                <a:alpha val="50196"/>
              </a:srgb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34" name="Arrow: Chevron 133">
              <a:extLst>
                <a:ext uri="{FF2B5EF4-FFF2-40B4-BE49-F238E27FC236}">
                  <a16:creationId xmlns:a16="http://schemas.microsoft.com/office/drawing/2014/main" id="{14D506D0-E62A-4CC7-8229-1F5AC52A7C8D}"/>
                </a:ext>
              </a:extLst>
            </p:cNvPr>
            <p:cNvSpPr/>
            <p:nvPr/>
          </p:nvSpPr>
          <p:spPr bwMode="auto">
            <a:xfrm>
              <a:off x="2027828" y="3880621"/>
              <a:ext cx="269363" cy="393205"/>
            </a:xfrm>
            <a:prstGeom prst="chevron">
              <a:avLst>
                <a:gd name="adj" fmla="val 71216"/>
              </a:avLst>
            </a:prstGeom>
            <a:solidFill>
              <a:schemeClr val="bg1">
                <a:lumMod val="9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grpSp>
      <p:graphicFrame>
        <p:nvGraphicFramePr>
          <p:cNvPr id="135" name="Table 11">
            <a:extLst>
              <a:ext uri="{FF2B5EF4-FFF2-40B4-BE49-F238E27FC236}">
                <a16:creationId xmlns:a16="http://schemas.microsoft.com/office/drawing/2014/main" id="{D7CD1885-B1F7-4179-9DA1-C3BA3FF62BF9}"/>
              </a:ext>
            </a:extLst>
          </p:cNvPr>
          <p:cNvGraphicFramePr>
            <a:graphicFrameLocks noGrp="1"/>
          </p:cNvGraphicFramePr>
          <p:nvPr/>
        </p:nvGraphicFramePr>
        <p:xfrm>
          <a:off x="2266950" y="4769570"/>
          <a:ext cx="6366294" cy="335280"/>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1411926293"/>
                    </a:ext>
                  </a:extLst>
                </a:gridCol>
                <a:gridCol w="1606550">
                  <a:extLst>
                    <a:ext uri="{9D8B030D-6E8A-4147-A177-3AD203B41FA5}">
                      <a16:colId xmlns:a16="http://schemas.microsoft.com/office/drawing/2014/main" val="3320640569"/>
                    </a:ext>
                  </a:extLst>
                </a:gridCol>
                <a:gridCol w="1188720">
                  <a:extLst>
                    <a:ext uri="{9D8B030D-6E8A-4147-A177-3AD203B41FA5}">
                      <a16:colId xmlns:a16="http://schemas.microsoft.com/office/drawing/2014/main" val="856931300"/>
                    </a:ext>
                  </a:extLst>
                </a:gridCol>
                <a:gridCol w="1040860">
                  <a:extLst>
                    <a:ext uri="{9D8B030D-6E8A-4147-A177-3AD203B41FA5}">
                      <a16:colId xmlns:a16="http://schemas.microsoft.com/office/drawing/2014/main" val="3278923065"/>
                    </a:ext>
                  </a:extLst>
                </a:gridCol>
                <a:gridCol w="1432884">
                  <a:extLst>
                    <a:ext uri="{9D8B030D-6E8A-4147-A177-3AD203B41FA5}">
                      <a16:colId xmlns:a16="http://schemas.microsoft.com/office/drawing/2014/main" val="775135927"/>
                    </a:ext>
                  </a:extLst>
                </a:gridCol>
              </a:tblGrid>
              <a:tr h="0">
                <a:tc>
                  <a:txBody>
                    <a:bodyPr/>
                    <a:lstStyle/>
                    <a:p>
                      <a:pPr algn="l"/>
                      <a:endParaRPr lang="en-US" sz="1100" b="1" dirty="0">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rPr>
                        <a:t>Geography</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dirty="0">
                          <a:solidFill>
                            <a:schemeClr val="tx1"/>
                          </a:solidFill>
                        </a:rPr>
                        <a:t>Service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3169474"/>
                  </a:ext>
                </a:extLst>
              </a:tr>
              <a:tr h="38100">
                <a:tc>
                  <a:txBody>
                    <a:bodyPr/>
                    <a:lstStyle/>
                    <a:p>
                      <a:pPr algn="l"/>
                      <a:endParaRPr lang="en-US" sz="1100" dirty="0">
                        <a:solidFill>
                          <a:schemeClr val="accent4">
                            <a:lumMod val="50000"/>
                          </a:schemeClr>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a:solidFill>
                            <a:schemeClr val="tx1"/>
                          </a:solidFill>
                        </a:rPr>
                        <a:t>Global</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endParaRPr lang="en-US" sz="1100" dirty="0">
                        <a:solidFill>
                          <a:schemeClr val="tx1"/>
                        </a:solidFill>
                        <a:highlight>
                          <a:srgbClr val="FFFF0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dirty="0">
                        <a:solidFill>
                          <a:schemeClr val="accent4">
                            <a:lumMod val="50000"/>
                          </a:schemeClr>
                        </a:solidFill>
                        <a:highlight>
                          <a:srgbClr val="FFFF0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dirty="0">
                          <a:solidFill>
                            <a:schemeClr val="tx1"/>
                          </a:solidFill>
                        </a:rPr>
                        <a:t>Engineering service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914287"/>
                  </a:ext>
                </a:extLst>
              </a:tr>
            </a:tbl>
          </a:graphicData>
        </a:graphic>
      </p:graphicFrame>
      <p:grpSp>
        <p:nvGrpSpPr>
          <p:cNvPr id="136" name="Group 135">
            <a:extLst>
              <a:ext uri="{FF2B5EF4-FFF2-40B4-BE49-F238E27FC236}">
                <a16:creationId xmlns:a16="http://schemas.microsoft.com/office/drawing/2014/main" id="{612439C8-1363-4B85-8385-EEF48EF0C122}"/>
              </a:ext>
            </a:extLst>
          </p:cNvPr>
          <p:cNvGrpSpPr>
            <a:grpSpLocks noChangeAspect="1"/>
          </p:cNvGrpSpPr>
          <p:nvPr/>
        </p:nvGrpSpPr>
        <p:grpSpPr>
          <a:xfrm>
            <a:off x="2590800" y="4649199"/>
            <a:ext cx="624432" cy="797444"/>
            <a:chOff x="-13469938" y="3414713"/>
            <a:chExt cx="2125663" cy="2714625"/>
          </a:xfrm>
          <a:solidFill>
            <a:schemeClr val="accent5"/>
          </a:solidFill>
        </p:grpSpPr>
        <p:sp>
          <p:nvSpPr>
            <p:cNvPr id="137" name="Freeform 22">
              <a:extLst>
                <a:ext uri="{FF2B5EF4-FFF2-40B4-BE49-F238E27FC236}">
                  <a16:creationId xmlns:a16="http://schemas.microsoft.com/office/drawing/2014/main" id="{896CFD04-5EF8-4A4B-A323-78EC40D3C794}"/>
                </a:ext>
              </a:extLst>
            </p:cNvPr>
            <p:cNvSpPr>
              <a:spLocks noEditPoints="1"/>
            </p:cNvSpPr>
            <p:nvPr/>
          </p:nvSpPr>
          <p:spPr bwMode="auto">
            <a:xfrm>
              <a:off x="-13098463" y="3716338"/>
              <a:ext cx="1585913" cy="1574800"/>
            </a:xfrm>
            <a:custGeom>
              <a:avLst/>
              <a:gdLst>
                <a:gd name="T0" fmla="*/ 584 w 1189"/>
                <a:gd name="T1" fmla="*/ 1178 h 1183"/>
                <a:gd name="T2" fmla="*/ 600 w 1189"/>
                <a:gd name="T3" fmla="*/ 1 h 1183"/>
                <a:gd name="T4" fmla="*/ 373 w 1189"/>
                <a:gd name="T5" fmla="*/ 440 h 1183"/>
                <a:gd name="T6" fmla="*/ 434 w 1189"/>
                <a:gd name="T7" fmla="*/ 603 h 1183"/>
                <a:gd name="T8" fmla="*/ 726 w 1189"/>
                <a:gd name="T9" fmla="*/ 498 h 1183"/>
                <a:gd name="T10" fmla="*/ 684 w 1189"/>
                <a:gd name="T11" fmla="*/ 365 h 1183"/>
                <a:gd name="T12" fmla="*/ 373 w 1189"/>
                <a:gd name="T13" fmla="*/ 440 h 1183"/>
                <a:gd name="T14" fmla="*/ 798 w 1189"/>
                <a:gd name="T15" fmla="*/ 750 h 1183"/>
                <a:gd name="T16" fmla="*/ 777 w 1189"/>
                <a:gd name="T17" fmla="*/ 590 h 1183"/>
                <a:gd name="T18" fmla="*/ 527 w 1189"/>
                <a:gd name="T19" fmla="*/ 657 h 1183"/>
                <a:gd name="T20" fmla="*/ 523 w 1189"/>
                <a:gd name="T21" fmla="*/ 851 h 1183"/>
                <a:gd name="T22" fmla="*/ 1069 w 1189"/>
                <a:gd name="T23" fmla="*/ 462 h 1183"/>
                <a:gd name="T24" fmla="*/ 853 w 1189"/>
                <a:gd name="T25" fmla="*/ 557 h 1183"/>
                <a:gd name="T26" fmla="*/ 909 w 1189"/>
                <a:gd name="T27" fmla="*/ 729 h 1183"/>
                <a:gd name="T28" fmla="*/ 1085 w 1189"/>
                <a:gd name="T29" fmla="*/ 711 h 1183"/>
                <a:gd name="T30" fmla="*/ 1082 w 1189"/>
                <a:gd name="T31" fmla="*/ 460 h 1183"/>
                <a:gd name="T32" fmla="*/ 120 w 1189"/>
                <a:gd name="T33" fmla="*/ 716 h 1183"/>
                <a:gd name="T34" fmla="*/ 334 w 1189"/>
                <a:gd name="T35" fmla="*/ 618 h 1183"/>
                <a:gd name="T36" fmla="*/ 277 w 1189"/>
                <a:gd name="T37" fmla="*/ 448 h 1183"/>
                <a:gd name="T38" fmla="*/ 103 w 1189"/>
                <a:gd name="T39" fmla="*/ 468 h 1183"/>
                <a:gd name="T40" fmla="*/ 105 w 1189"/>
                <a:gd name="T41" fmla="*/ 717 h 1183"/>
                <a:gd name="T42" fmla="*/ 831 w 1189"/>
                <a:gd name="T43" fmla="*/ 460 h 1183"/>
                <a:gd name="T44" fmla="*/ 1047 w 1189"/>
                <a:gd name="T45" fmla="*/ 367 h 1183"/>
                <a:gd name="T46" fmla="*/ 874 w 1189"/>
                <a:gd name="T47" fmla="*/ 181 h 1183"/>
                <a:gd name="T48" fmla="*/ 743 w 1189"/>
                <a:gd name="T49" fmla="*/ 298 h 1183"/>
                <a:gd name="T50" fmla="*/ 824 w 1189"/>
                <a:gd name="T51" fmla="*/ 461 h 1183"/>
                <a:gd name="T52" fmla="*/ 296 w 1189"/>
                <a:gd name="T53" fmla="*/ 996 h 1183"/>
                <a:gd name="T54" fmla="*/ 439 w 1189"/>
                <a:gd name="T55" fmla="*/ 900 h 1183"/>
                <a:gd name="T56" fmla="*/ 373 w 1189"/>
                <a:gd name="T57" fmla="*/ 728 h 1183"/>
                <a:gd name="T58" fmla="*/ 223 w 1189"/>
                <a:gd name="T59" fmla="*/ 767 h 1183"/>
                <a:gd name="T60" fmla="*/ 617 w 1189"/>
                <a:gd name="T61" fmla="*/ 257 h 1183"/>
                <a:gd name="T62" fmla="*/ 386 w 1189"/>
                <a:gd name="T63" fmla="*/ 153 h 1183"/>
                <a:gd name="T64" fmla="*/ 366 w 1189"/>
                <a:gd name="T65" fmla="*/ 348 h 1183"/>
                <a:gd name="T66" fmla="*/ 570 w 1189"/>
                <a:gd name="T67" fmla="*/ 921 h 1183"/>
                <a:gd name="T68" fmla="*/ 703 w 1189"/>
                <a:gd name="T69" fmla="*/ 1054 h 1183"/>
                <a:gd name="T70" fmla="*/ 809 w 1189"/>
                <a:gd name="T71" fmla="*/ 1009 h 1183"/>
                <a:gd name="T72" fmla="*/ 820 w 1189"/>
                <a:gd name="T73" fmla="*/ 830 h 1183"/>
                <a:gd name="T74" fmla="*/ 282 w 1189"/>
                <a:gd name="T75" fmla="*/ 192 h 1183"/>
                <a:gd name="T76" fmla="*/ 282 w 1189"/>
                <a:gd name="T77" fmla="*/ 366 h 1183"/>
                <a:gd name="T78" fmla="*/ 1049 w 1189"/>
                <a:gd name="T79" fmla="*/ 809 h 1183"/>
                <a:gd name="T80" fmla="*/ 926 w 1189"/>
                <a:gd name="T81" fmla="*/ 812 h 1183"/>
                <a:gd name="T82" fmla="*/ 907 w 1189"/>
                <a:gd name="T83" fmla="*/ 942 h 1183"/>
                <a:gd name="T84" fmla="*/ 1049 w 1189"/>
                <a:gd name="T85" fmla="*/ 809 h 1183"/>
                <a:gd name="T86" fmla="*/ 388 w 1189"/>
                <a:gd name="T87" fmla="*/ 1049 h 1183"/>
                <a:gd name="T88" fmla="*/ 606 w 1189"/>
                <a:gd name="T89" fmla="*/ 1087 h 1183"/>
                <a:gd name="T90" fmla="*/ 487 w 1189"/>
                <a:gd name="T91" fmla="*/ 968 h 1183"/>
                <a:gd name="T92" fmla="*/ 803 w 1189"/>
                <a:gd name="T93" fmla="*/ 136 h 1183"/>
                <a:gd name="T94" fmla="*/ 584 w 1189"/>
                <a:gd name="T95" fmla="*/ 93 h 1183"/>
                <a:gd name="T96" fmla="*/ 704 w 1189"/>
                <a:gd name="T97" fmla="*/ 208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9" h="1183">
                  <a:moveTo>
                    <a:pt x="1182" y="580"/>
                  </a:moveTo>
                  <a:cubicBezTo>
                    <a:pt x="1189" y="911"/>
                    <a:pt x="917" y="1183"/>
                    <a:pt x="584" y="1178"/>
                  </a:cubicBezTo>
                  <a:cubicBezTo>
                    <a:pt x="273" y="1173"/>
                    <a:pt x="0" y="920"/>
                    <a:pt x="5" y="578"/>
                  </a:cubicBezTo>
                  <a:cubicBezTo>
                    <a:pt x="10" y="262"/>
                    <a:pt x="263" y="0"/>
                    <a:pt x="600" y="1"/>
                  </a:cubicBezTo>
                  <a:cubicBezTo>
                    <a:pt x="915" y="1"/>
                    <a:pt x="1182" y="266"/>
                    <a:pt x="1182" y="580"/>
                  </a:cubicBezTo>
                  <a:close/>
                  <a:moveTo>
                    <a:pt x="373" y="440"/>
                  </a:moveTo>
                  <a:cubicBezTo>
                    <a:pt x="386" y="489"/>
                    <a:pt x="400" y="541"/>
                    <a:pt x="413" y="594"/>
                  </a:cubicBezTo>
                  <a:cubicBezTo>
                    <a:pt x="416" y="606"/>
                    <a:pt x="424" y="607"/>
                    <a:pt x="434" y="603"/>
                  </a:cubicBezTo>
                  <a:cubicBezTo>
                    <a:pt x="448" y="598"/>
                    <a:pt x="463" y="593"/>
                    <a:pt x="477" y="588"/>
                  </a:cubicBezTo>
                  <a:cubicBezTo>
                    <a:pt x="560" y="558"/>
                    <a:pt x="643" y="527"/>
                    <a:pt x="726" y="498"/>
                  </a:cubicBezTo>
                  <a:cubicBezTo>
                    <a:pt x="739" y="493"/>
                    <a:pt x="742" y="488"/>
                    <a:pt x="735" y="475"/>
                  </a:cubicBezTo>
                  <a:cubicBezTo>
                    <a:pt x="717" y="438"/>
                    <a:pt x="701" y="401"/>
                    <a:pt x="684" y="365"/>
                  </a:cubicBezTo>
                  <a:cubicBezTo>
                    <a:pt x="678" y="352"/>
                    <a:pt x="670" y="341"/>
                    <a:pt x="666" y="334"/>
                  </a:cubicBezTo>
                  <a:cubicBezTo>
                    <a:pt x="568" y="370"/>
                    <a:pt x="473" y="404"/>
                    <a:pt x="373" y="440"/>
                  </a:cubicBezTo>
                  <a:close/>
                  <a:moveTo>
                    <a:pt x="523" y="851"/>
                  </a:moveTo>
                  <a:cubicBezTo>
                    <a:pt x="614" y="805"/>
                    <a:pt x="704" y="772"/>
                    <a:pt x="798" y="750"/>
                  </a:cubicBezTo>
                  <a:cubicBezTo>
                    <a:pt x="812" y="747"/>
                    <a:pt x="814" y="740"/>
                    <a:pt x="811" y="727"/>
                  </a:cubicBezTo>
                  <a:cubicBezTo>
                    <a:pt x="799" y="681"/>
                    <a:pt x="787" y="636"/>
                    <a:pt x="777" y="590"/>
                  </a:cubicBezTo>
                  <a:cubicBezTo>
                    <a:pt x="773" y="573"/>
                    <a:pt x="765" y="571"/>
                    <a:pt x="750" y="577"/>
                  </a:cubicBezTo>
                  <a:cubicBezTo>
                    <a:pt x="676" y="604"/>
                    <a:pt x="601" y="630"/>
                    <a:pt x="527" y="657"/>
                  </a:cubicBezTo>
                  <a:cubicBezTo>
                    <a:pt x="500" y="667"/>
                    <a:pt x="474" y="677"/>
                    <a:pt x="445" y="688"/>
                  </a:cubicBezTo>
                  <a:cubicBezTo>
                    <a:pt x="471" y="743"/>
                    <a:pt x="496" y="796"/>
                    <a:pt x="523" y="851"/>
                  </a:cubicBezTo>
                  <a:close/>
                  <a:moveTo>
                    <a:pt x="1082" y="460"/>
                  </a:moveTo>
                  <a:cubicBezTo>
                    <a:pt x="1077" y="461"/>
                    <a:pt x="1073" y="461"/>
                    <a:pt x="1069" y="462"/>
                  </a:cubicBezTo>
                  <a:cubicBezTo>
                    <a:pt x="1001" y="487"/>
                    <a:pt x="932" y="512"/>
                    <a:pt x="864" y="536"/>
                  </a:cubicBezTo>
                  <a:cubicBezTo>
                    <a:pt x="852" y="540"/>
                    <a:pt x="850" y="547"/>
                    <a:pt x="853" y="557"/>
                  </a:cubicBezTo>
                  <a:cubicBezTo>
                    <a:pt x="866" y="611"/>
                    <a:pt x="879" y="664"/>
                    <a:pt x="893" y="717"/>
                  </a:cubicBezTo>
                  <a:cubicBezTo>
                    <a:pt x="895" y="723"/>
                    <a:pt x="904" y="729"/>
                    <a:pt x="909" y="729"/>
                  </a:cubicBezTo>
                  <a:cubicBezTo>
                    <a:pt x="961" y="729"/>
                    <a:pt x="1014" y="726"/>
                    <a:pt x="1066" y="725"/>
                  </a:cubicBezTo>
                  <a:cubicBezTo>
                    <a:pt x="1077" y="725"/>
                    <a:pt x="1083" y="723"/>
                    <a:pt x="1085" y="711"/>
                  </a:cubicBezTo>
                  <a:cubicBezTo>
                    <a:pt x="1087" y="694"/>
                    <a:pt x="1092" y="678"/>
                    <a:pt x="1095" y="662"/>
                  </a:cubicBezTo>
                  <a:cubicBezTo>
                    <a:pt x="1106" y="594"/>
                    <a:pt x="1101" y="527"/>
                    <a:pt x="1082" y="460"/>
                  </a:cubicBezTo>
                  <a:close/>
                  <a:moveTo>
                    <a:pt x="105" y="717"/>
                  </a:moveTo>
                  <a:cubicBezTo>
                    <a:pt x="112" y="717"/>
                    <a:pt x="116" y="717"/>
                    <a:pt x="120" y="716"/>
                  </a:cubicBezTo>
                  <a:cubicBezTo>
                    <a:pt x="188" y="691"/>
                    <a:pt x="257" y="666"/>
                    <a:pt x="326" y="642"/>
                  </a:cubicBezTo>
                  <a:cubicBezTo>
                    <a:pt x="340" y="637"/>
                    <a:pt x="337" y="628"/>
                    <a:pt x="334" y="618"/>
                  </a:cubicBezTo>
                  <a:cubicBezTo>
                    <a:pt x="321" y="566"/>
                    <a:pt x="308" y="515"/>
                    <a:pt x="296" y="463"/>
                  </a:cubicBezTo>
                  <a:cubicBezTo>
                    <a:pt x="293" y="452"/>
                    <a:pt x="289" y="448"/>
                    <a:pt x="277" y="448"/>
                  </a:cubicBezTo>
                  <a:cubicBezTo>
                    <a:pt x="226" y="450"/>
                    <a:pt x="174" y="452"/>
                    <a:pt x="122" y="453"/>
                  </a:cubicBezTo>
                  <a:cubicBezTo>
                    <a:pt x="110" y="453"/>
                    <a:pt x="105" y="456"/>
                    <a:pt x="103" y="468"/>
                  </a:cubicBezTo>
                  <a:cubicBezTo>
                    <a:pt x="101" y="484"/>
                    <a:pt x="96" y="500"/>
                    <a:pt x="94" y="516"/>
                  </a:cubicBezTo>
                  <a:cubicBezTo>
                    <a:pt x="82" y="584"/>
                    <a:pt x="88" y="650"/>
                    <a:pt x="105" y="717"/>
                  </a:cubicBezTo>
                  <a:close/>
                  <a:moveTo>
                    <a:pt x="824" y="461"/>
                  </a:moveTo>
                  <a:cubicBezTo>
                    <a:pt x="828" y="460"/>
                    <a:pt x="829" y="460"/>
                    <a:pt x="831" y="460"/>
                  </a:cubicBezTo>
                  <a:cubicBezTo>
                    <a:pt x="901" y="434"/>
                    <a:pt x="972" y="409"/>
                    <a:pt x="1042" y="383"/>
                  </a:cubicBezTo>
                  <a:cubicBezTo>
                    <a:pt x="1046" y="382"/>
                    <a:pt x="1049" y="370"/>
                    <a:pt x="1047" y="367"/>
                  </a:cubicBezTo>
                  <a:cubicBezTo>
                    <a:pt x="1011" y="292"/>
                    <a:pt x="960" y="230"/>
                    <a:pt x="893" y="182"/>
                  </a:cubicBezTo>
                  <a:cubicBezTo>
                    <a:pt x="888" y="179"/>
                    <a:pt x="878" y="178"/>
                    <a:pt x="874" y="181"/>
                  </a:cubicBezTo>
                  <a:cubicBezTo>
                    <a:pt x="831" y="213"/>
                    <a:pt x="789" y="247"/>
                    <a:pt x="747" y="281"/>
                  </a:cubicBezTo>
                  <a:cubicBezTo>
                    <a:pt x="743" y="284"/>
                    <a:pt x="741" y="294"/>
                    <a:pt x="743" y="298"/>
                  </a:cubicBezTo>
                  <a:cubicBezTo>
                    <a:pt x="767" y="350"/>
                    <a:pt x="791" y="401"/>
                    <a:pt x="816" y="451"/>
                  </a:cubicBezTo>
                  <a:cubicBezTo>
                    <a:pt x="818" y="456"/>
                    <a:pt x="822" y="459"/>
                    <a:pt x="824" y="461"/>
                  </a:cubicBezTo>
                  <a:close/>
                  <a:moveTo>
                    <a:pt x="135" y="799"/>
                  </a:moveTo>
                  <a:cubicBezTo>
                    <a:pt x="172" y="882"/>
                    <a:pt x="226" y="945"/>
                    <a:pt x="296" y="996"/>
                  </a:cubicBezTo>
                  <a:cubicBezTo>
                    <a:pt x="300" y="1000"/>
                    <a:pt x="312" y="998"/>
                    <a:pt x="317" y="995"/>
                  </a:cubicBezTo>
                  <a:cubicBezTo>
                    <a:pt x="358" y="964"/>
                    <a:pt x="398" y="931"/>
                    <a:pt x="439" y="900"/>
                  </a:cubicBezTo>
                  <a:cubicBezTo>
                    <a:pt x="448" y="893"/>
                    <a:pt x="450" y="888"/>
                    <a:pt x="445" y="877"/>
                  </a:cubicBezTo>
                  <a:cubicBezTo>
                    <a:pt x="420" y="828"/>
                    <a:pt x="397" y="778"/>
                    <a:pt x="373" y="728"/>
                  </a:cubicBezTo>
                  <a:cubicBezTo>
                    <a:pt x="369" y="718"/>
                    <a:pt x="365" y="716"/>
                    <a:pt x="354" y="720"/>
                  </a:cubicBezTo>
                  <a:cubicBezTo>
                    <a:pt x="311" y="736"/>
                    <a:pt x="267" y="752"/>
                    <a:pt x="223" y="767"/>
                  </a:cubicBezTo>
                  <a:cubicBezTo>
                    <a:pt x="194" y="778"/>
                    <a:pt x="166" y="788"/>
                    <a:pt x="135" y="799"/>
                  </a:cubicBezTo>
                  <a:close/>
                  <a:moveTo>
                    <a:pt x="617" y="257"/>
                  </a:moveTo>
                  <a:cubicBezTo>
                    <a:pt x="577" y="202"/>
                    <a:pt x="537" y="150"/>
                    <a:pt x="475" y="120"/>
                  </a:cubicBezTo>
                  <a:cubicBezTo>
                    <a:pt x="435" y="101"/>
                    <a:pt x="406" y="112"/>
                    <a:pt x="386" y="153"/>
                  </a:cubicBezTo>
                  <a:cubicBezTo>
                    <a:pt x="363" y="202"/>
                    <a:pt x="362" y="254"/>
                    <a:pt x="361" y="307"/>
                  </a:cubicBezTo>
                  <a:cubicBezTo>
                    <a:pt x="361" y="320"/>
                    <a:pt x="364" y="334"/>
                    <a:pt x="366" y="348"/>
                  </a:cubicBezTo>
                  <a:cubicBezTo>
                    <a:pt x="454" y="328"/>
                    <a:pt x="537" y="299"/>
                    <a:pt x="617" y="257"/>
                  </a:cubicBezTo>
                  <a:close/>
                  <a:moveTo>
                    <a:pt x="570" y="921"/>
                  </a:moveTo>
                  <a:cubicBezTo>
                    <a:pt x="582" y="936"/>
                    <a:pt x="591" y="950"/>
                    <a:pt x="602" y="962"/>
                  </a:cubicBezTo>
                  <a:cubicBezTo>
                    <a:pt x="631" y="998"/>
                    <a:pt x="663" y="1031"/>
                    <a:pt x="703" y="1054"/>
                  </a:cubicBezTo>
                  <a:cubicBezTo>
                    <a:pt x="750" y="1080"/>
                    <a:pt x="783" y="1069"/>
                    <a:pt x="805" y="1020"/>
                  </a:cubicBezTo>
                  <a:cubicBezTo>
                    <a:pt x="806" y="1016"/>
                    <a:pt x="807" y="1013"/>
                    <a:pt x="809" y="1009"/>
                  </a:cubicBezTo>
                  <a:cubicBezTo>
                    <a:pt x="828" y="955"/>
                    <a:pt x="826" y="899"/>
                    <a:pt x="825" y="843"/>
                  </a:cubicBezTo>
                  <a:cubicBezTo>
                    <a:pt x="825" y="839"/>
                    <a:pt x="822" y="835"/>
                    <a:pt x="820" y="830"/>
                  </a:cubicBezTo>
                  <a:cubicBezTo>
                    <a:pt x="733" y="851"/>
                    <a:pt x="651" y="880"/>
                    <a:pt x="570" y="921"/>
                  </a:cubicBezTo>
                  <a:close/>
                  <a:moveTo>
                    <a:pt x="282" y="192"/>
                  </a:moveTo>
                  <a:cubicBezTo>
                    <a:pt x="221" y="239"/>
                    <a:pt x="174" y="298"/>
                    <a:pt x="137" y="374"/>
                  </a:cubicBezTo>
                  <a:cubicBezTo>
                    <a:pt x="188" y="371"/>
                    <a:pt x="233" y="369"/>
                    <a:pt x="282" y="366"/>
                  </a:cubicBezTo>
                  <a:cubicBezTo>
                    <a:pt x="282" y="307"/>
                    <a:pt x="282" y="251"/>
                    <a:pt x="282" y="192"/>
                  </a:cubicBezTo>
                  <a:close/>
                  <a:moveTo>
                    <a:pt x="1049" y="809"/>
                  </a:moveTo>
                  <a:cubicBezTo>
                    <a:pt x="1038" y="807"/>
                    <a:pt x="1031" y="806"/>
                    <a:pt x="1024" y="806"/>
                  </a:cubicBezTo>
                  <a:cubicBezTo>
                    <a:pt x="991" y="808"/>
                    <a:pt x="959" y="811"/>
                    <a:pt x="926" y="812"/>
                  </a:cubicBezTo>
                  <a:cubicBezTo>
                    <a:pt x="911" y="813"/>
                    <a:pt x="907" y="817"/>
                    <a:pt x="908" y="832"/>
                  </a:cubicBezTo>
                  <a:cubicBezTo>
                    <a:pt x="909" y="869"/>
                    <a:pt x="908" y="905"/>
                    <a:pt x="907" y="942"/>
                  </a:cubicBezTo>
                  <a:cubicBezTo>
                    <a:pt x="907" y="956"/>
                    <a:pt x="904" y="969"/>
                    <a:pt x="903" y="983"/>
                  </a:cubicBezTo>
                  <a:cubicBezTo>
                    <a:pt x="968" y="938"/>
                    <a:pt x="1014" y="881"/>
                    <a:pt x="1049" y="809"/>
                  </a:cubicBezTo>
                  <a:close/>
                  <a:moveTo>
                    <a:pt x="386" y="1041"/>
                  </a:moveTo>
                  <a:cubicBezTo>
                    <a:pt x="387" y="1044"/>
                    <a:pt x="387" y="1047"/>
                    <a:pt x="388" y="1049"/>
                  </a:cubicBezTo>
                  <a:cubicBezTo>
                    <a:pt x="457" y="1082"/>
                    <a:pt x="530" y="1096"/>
                    <a:pt x="607" y="1094"/>
                  </a:cubicBezTo>
                  <a:cubicBezTo>
                    <a:pt x="606" y="1090"/>
                    <a:pt x="607" y="1088"/>
                    <a:pt x="606" y="1087"/>
                  </a:cubicBezTo>
                  <a:cubicBezTo>
                    <a:pt x="571" y="1048"/>
                    <a:pt x="537" y="1008"/>
                    <a:pt x="502" y="970"/>
                  </a:cubicBezTo>
                  <a:cubicBezTo>
                    <a:pt x="499" y="967"/>
                    <a:pt x="490" y="966"/>
                    <a:pt x="487" y="968"/>
                  </a:cubicBezTo>
                  <a:cubicBezTo>
                    <a:pt x="453" y="992"/>
                    <a:pt x="420" y="1017"/>
                    <a:pt x="386" y="1041"/>
                  </a:cubicBezTo>
                  <a:close/>
                  <a:moveTo>
                    <a:pt x="803" y="136"/>
                  </a:moveTo>
                  <a:cubicBezTo>
                    <a:pt x="774" y="105"/>
                    <a:pt x="620" y="73"/>
                    <a:pt x="581" y="88"/>
                  </a:cubicBezTo>
                  <a:cubicBezTo>
                    <a:pt x="582" y="90"/>
                    <a:pt x="582" y="92"/>
                    <a:pt x="584" y="93"/>
                  </a:cubicBezTo>
                  <a:cubicBezTo>
                    <a:pt x="617" y="131"/>
                    <a:pt x="650" y="169"/>
                    <a:pt x="684" y="206"/>
                  </a:cubicBezTo>
                  <a:cubicBezTo>
                    <a:pt x="688" y="210"/>
                    <a:pt x="700" y="211"/>
                    <a:pt x="704" y="208"/>
                  </a:cubicBezTo>
                  <a:cubicBezTo>
                    <a:pt x="737" y="186"/>
                    <a:pt x="769" y="161"/>
                    <a:pt x="80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38" name="Freeform 23">
              <a:extLst>
                <a:ext uri="{FF2B5EF4-FFF2-40B4-BE49-F238E27FC236}">
                  <a16:creationId xmlns:a16="http://schemas.microsoft.com/office/drawing/2014/main" id="{B43F21D8-8B0E-4797-BE00-9705F7B6EE32}"/>
                </a:ext>
              </a:extLst>
            </p:cNvPr>
            <p:cNvSpPr>
              <a:spLocks/>
            </p:cNvSpPr>
            <p:nvPr/>
          </p:nvSpPr>
          <p:spPr bwMode="auto">
            <a:xfrm>
              <a:off x="-13469938" y="3414713"/>
              <a:ext cx="2125663" cy="2714625"/>
            </a:xfrm>
            <a:custGeom>
              <a:avLst/>
              <a:gdLst>
                <a:gd name="T0" fmla="*/ 831 w 1594"/>
                <a:gd name="T1" fmla="*/ 1956 h 2040"/>
                <a:gd name="T2" fmla="*/ 831 w 1594"/>
                <a:gd name="T3" fmla="*/ 1675 h 2040"/>
                <a:gd name="T4" fmla="*/ 737 w 1594"/>
                <a:gd name="T5" fmla="*/ 1664 h 2040"/>
                <a:gd name="T6" fmla="*/ 357 w 1594"/>
                <a:gd name="T7" fmla="*/ 1503 h 2040"/>
                <a:gd name="T8" fmla="*/ 33 w 1594"/>
                <a:gd name="T9" fmla="*/ 1022 h 2040"/>
                <a:gd name="T10" fmla="*/ 13 w 1594"/>
                <a:gd name="T11" fmla="*/ 701 h 2040"/>
                <a:gd name="T12" fmla="*/ 176 w 1594"/>
                <a:gd name="T13" fmla="*/ 292 h 2040"/>
                <a:gd name="T14" fmla="*/ 531 w 1594"/>
                <a:gd name="T15" fmla="*/ 11 h 2040"/>
                <a:gd name="T16" fmla="*/ 590 w 1594"/>
                <a:gd name="T17" fmla="*/ 30 h 2040"/>
                <a:gd name="T18" fmla="*/ 565 w 1594"/>
                <a:gd name="T19" fmla="*/ 86 h 2040"/>
                <a:gd name="T20" fmla="*/ 389 w 1594"/>
                <a:gd name="T21" fmla="*/ 191 h 2040"/>
                <a:gd name="T22" fmla="*/ 103 w 1594"/>
                <a:gd name="T23" fmla="*/ 663 h 2040"/>
                <a:gd name="T24" fmla="*/ 238 w 1594"/>
                <a:gd name="T25" fmla="*/ 1265 h 2040"/>
                <a:gd name="T26" fmla="*/ 741 w 1594"/>
                <a:gd name="T27" fmla="*/ 1579 h 2040"/>
                <a:gd name="T28" fmla="*/ 1451 w 1594"/>
                <a:gd name="T29" fmla="*/ 1337 h 2040"/>
                <a:gd name="T30" fmla="*/ 1509 w 1594"/>
                <a:gd name="T31" fmla="*/ 1265 h 2040"/>
                <a:gd name="T32" fmla="*/ 1573 w 1594"/>
                <a:gd name="T33" fmla="*/ 1249 h 2040"/>
                <a:gd name="T34" fmla="*/ 1576 w 1594"/>
                <a:gd name="T35" fmla="*/ 1315 h 2040"/>
                <a:gd name="T36" fmla="*/ 1061 w 1594"/>
                <a:gd name="T37" fmla="*/ 1653 h 2040"/>
                <a:gd name="T38" fmla="*/ 916 w 1594"/>
                <a:gd name="T39" fmla="*/ 1676 h 2040"/>
                <a:gd name="T40" fmla="*/ 916 w 1594"/>
                <a:gd name="T41" fmla="*/ 1956 h 2040"/>
                <a:gd name="T42" fmla="*/ 937 w 1594"/>
                <a:gd name="T43" fmla="*/ 1956 h 2040"/>
                <a:gd name="T44" fmla="*/ 1145 w 1594"/>
                <a:gd name="T45" fmla="*/ 1956 h 2040"/>
                <a:gd name="T46" fmla="*/ 1187 w 1594"/>
                <a:gd name="T47" fmla="*/ 2018 h 2040"/>
                <a:gd name="T48" fmla="*/ 1143 w 1594"/>
                <a:gd name="T49" fmla="*/ 2040 h 2040"/>
                <a:gd name="T50" fmla="*/ 651 w 1594"/>
                <a:gd name="T51" fmla="*/ 2040 h 2040"/>
                <a:gd name="T52" fmla="*/ 593 w 1594"/>
                <a:gd name="T53" fmla="*/ 2039 h 2040"/>
                <a:gd name="T54" fmla="*/ 556 w 1594"/>
                <a:gd name="T55" fmla="*/ 2011 h 2040"/>
                <a:gd name="T56" fmla="*/ 570 w 1594"/>
                <a:gd name="T57" fmla="*/ 1966 h 2040"/>
                <a:gd name="T58" fmla="*/ 605 w 1594"/>
                <a:gd name="T59" fmla="*/ 1957 h 2040"/>
                <a:gd name="T60" fmla="*/ 807 w 1594"/>
                <a:gd name="T61" fmla="*/ 1956 h 2040"/>
                <a:gd name="T62" fmla="*/ 831 w 1594"/>
                <a:gd name="T63" fmla="*/ 1956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4" h="2040">
                  <a:moveTo>
                    <a:pt x="831" y="1956"/>
                  </a:moveTo>
                  <a:cubicBezTo>
                    <a:pt x="831" y="1861"/>
                    <a:pt x="831" y="1768"/>
                    <a:pt x="831" y="1675"/>
                  </a:cubicBezTo>
                  <a:cubicBezTo>
                    <a:pt x="799" y="1671"/>
                    <a:pt x="768" y="1669"/>
                    <a:pt x="737" y="1664"/>
                  </a:cubicBezTo>
                  <a:cubicBezTo>
                    <a:pt x="598" y="1641"/>
                    <a:pt x="470" y="1589"/>
                    <a:pt x="357" y="1503"/>
                  </a:cubicBezTo>
                  <a:cubicBezTo>
                    <a:pt x="193" y="1380"/>
                    <a:pt x="85" y="1220"/>
                    <a:pt x="33" y="1022"/>
                  </a:cubicBezTo>
                  <a:cubicBezTo>
                    <a:pt x="6" y="916"/>
                    <a:pt x="0" y="809"/>
                    <a:pt x="13" y="701"/>
                  </a:cubicBezTo>
                  <a:cubicBezTo>
                    <a:pt x="32" y="550"/>
                    <a:pt x="86" y="414"/>
                    <a:pt x="176" y="292"/>
                  </a:cubicBezTo>
                  <a:cubicBezTo>
                    <a:pt x="269" y="166"/>
                    <a:pt x="388" y="73"/>
                    <a:pt x="531" y="11"/>
                  </a:cubicBezTo>
                  <a:cubicBezTo>
                    <a:pt x="556" y="0"/>
                    <a:pt x="580" y="8"/>
                    <a:pt x="590" y="30"/>
                  </a:cubicBezTo>
                  <a:cubicBezTo>
                    <a:pt x="599" y="51"/>
                    <a:pt x="590" y="75"/>
                    <a:pt x="565" y="86"/>
                  </a:cubicBezTo>
                  <a:cubicBezTo>
                    <a:pt x="503" y="115"/>
                    <a:pt x="443" y="148"/>
                    <a:pt x="389" y="191"/>
                  </a:cubicBezTo>
                  <a:cubicBezTo>
                    <a:pt x="236" y="314"/>
                    <a:pt x="139" y="470"/>
                    <a:pt x="103" y="663"/>
                  </a:cubicBezTo>
                  <a:cubicBezTo>
                    <a:pt x="63" y="882"/>
                    <a:pt x="108" y="1084"/>
                    <a:pt x="238" y="1265"/>
                  </a:cubicBezTo>
                  <a:cubicBezTo>
                    <a:pt x="362" y="1438"/>
                    <a:pt x="531" y="1545"/>
                    <a:pt x="741" y="1579"/>
                  </a:cubicBezTo>
                  <a:cubicBezTo>
                    <a:pt x="1019" y="1624"/>
                    <a:pt x="1257" y="1540"/>
                    <a:pt x="1451" y="1337"/>
                  </a:cubicBezTo>
                  <a:cubicBezTo>
                    <a:pt x="1472" y="1314"/>
                    <a:pt x="1490" y="1289"/>
                    <a:pt x="1509" y="1265"/>
                  </a:cubicBezTo>
                  <a:cubicBezTo>
                    <a:pt x="1529" y="1240"/>
                    <a:pt x="1554" y="1234"/>
                    <a:pt x="1573" y="1249"/>
                  </a:cubicBezTo>
                  <a:cubicBezTo>
                    <a:pt x="1593" y="1265"/>
                    <a:pt x="1594" y="1290"/>
                    <a:pt x="1576" y="1315"/>
                  </a:cubicBezTo>
                  <a:cubicBezTo>
                    <a:pt x="1446" y="1491"/>
                    <a:pt x="1275" y="1604"/>
                    <a:pt x="1061" y="1653"/>
                  </a:cubicBezTo>
                  <a:cubicBezTo>
                    <a:pt x="1014" y="1664"/>
                    <a:pt x="966" y="1668"/>
                    <a:pt x="916" y="1676"/>
                  </a:cubicBezTo>
                  <a:cubicBezTo>
                    <a:pt x="916" y="1768"/>
                    <a:pt x="916" y="1860"/>
                    <a:pt x="916" y="1956"/>
                  </a:cubicBezTo>
                  <a:cubicBezTo>
                    <a:pt x="923" y="1956"/>
                    <a:pt x="930" y="1956"/>
                    <a:pt x="937" y="1956"/>
                  </a:cubicBezTo>
                  <a:cubicBezTo>
                    <a:pt x="1007" y="1956"/>
                    <a:pt x="1076" y="1956"/>
                    <a:pt x="1145" y="1956"/>
                  </a:cubicBezTo>
                  <a:cubicBezTo>
                    <a:pt x="1183" y="1957"/>
                    <a:pt x="1203" y="1987"/>
                    <a:pt x="1187" y="2018"/>
                  </a:cubicBezTo>
                  <a:cubicBezTo>
                    <a:pt x="1178" y="2036"/>
                    <a:pt x="1162" y="2040"/>
                    <a:pt x="1143" y="2040"/>
                  </a:cubicBezTo>
                  <a:cubicBezTo>
                    <a:pt x="979" y="2040"/>
                    <a:pt x="815" y="2040"/>
                    <a:pt x="651" y="2040"/>
                  </a:cubicBezTo>
                  <a:cubicBezTo>
                    <a:pt x="632" y="2040"/>
                    <a:pt x="612" y="2040"/>
                    <a:pt x="593" y="2039"/>
                  </a:cubicBezTo>
                  <a:cubicBezTo>
                    <a:pt x="574" y="2039"/>
                    <a:pt x="562" y="2028"/>
                    <a:pt x="556" y="2011"/>
                  </a:cubicBezTo>
                  <a:cubicBezTo>
                    <a:pt x="550" y="1994"/>
                    <a:pt x="554" y="1976"/>
                    <a:pt x="570" y="1966"/>
                  </a:cubicBezTo>
                  <a:cubicBezTo>
                    <a:pt x="580" y="1960"/>
                    <a:pt x="593" y="1957"/>
                    <a:pt x="605" y="1957"/>
                  </a:cubicBezTo>
                  <a:cubicBezTo>
                    <a:pt x="673" y="1956"/>
                    <a:pt x="740" y="1956"/>
                    <a:pt x="807" y="1956"/>
                  </a:cubicBezTo>
                  <a:cubicBezTo>
                    <a:pt x="814" y="1956"/>
                    <a:pt x="822" y="1956"/>
                    <a:pt x="831" y="19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grpSp>
      <p:grpSp>
        <p:nvGrpSpPr>
          <p:cNvPr id="144" name="Group 143">
            <a:extLst>
              <a:ext uri="{FF2B5EF4-FFF2-40B4-BE49-F238E27FC236}">
                <a16:creationId xmlns:a16="http://schemas.microsoft.com/office/drawing/2014/main" id="{CB4D6097-C14F-4C76-99A0-4F0DA9D07E8A}"/>
              </a:ext>
            </a:extLst>
          </p:cNvPr>
          <p:cNvGrpSpPr>
            <a:grpSpLocks noChangeAspect="1"/>
          </p:cNvGrpSpPr>
          <p:nvPr/>
        </p:nvGrpSpPr>
        <p:grpSpPr>
          <a:xfrm>
            <a:off x="6355739" y="4649199"/>
            <a:ext cx="715447" cy="704850"/>
            <a:chOff x="13935076" y="1231900"/>
            <a:chExt cx="4394200" cy="4329113"/>
          </a:xfrm>
          <a:solidFill>
            <a:schemeClr val="accent2"/>
          </a:solidFill>
        </p:grpSpPr>
        <p:sp>
          <p:nvSpPr>
            <p:cNvPr id="145" name="Freeform 6">
              <a:extLst>
                <a:ext uri="{FF2B5EF4-FFF2-40B4-BE49-F238E27FC236}">
                  <a16:creationId xmlns:a16="http://schemas.microsoft.com/office/drawing/2014/main" id="{92109B81-A451-4FE0-826D-BCC39AED6C24}"/>
                </a:ext>
              </a:extLst>
            </p:cNvPr>
            <p:cNvSpPr>
              <a:spLocks noEditPoints="1"/>
            </p:cNvSpPr>
            <p:nvPr/>
          </p:nvSpPr>
          <p:spPr bwMode="auto">
            <a:xfrm>
              <a:off x="14938376" y="2219325"/>
              <a:ext cx="2335213" cy="2338388"/>
            </a:xfrm>
            <a:custGeom>
              <a:avLst/>
              <a:gdLst>
                <a:gd name="T0" fmla="*/ 1055 w 1079"/>
                <a:gd name="T1" fmla="*/ 442 h 1083"/>
                <a:gd name="T2" fmla="*/ 981 w 1079"/>
                <a:gd name="T3" fmla="*/ 488 h 1083"/>
                <a:gd name="T4" fmla="*/ 993 w 1079"/>
                <a:gd name="T5" fmla="*/ 623 h 1083"/>
                <a:gd name="T6" fmla="*/ 1069 w 1079"/>
                <a:gd name="T7" fmla="*/ 687 h 1083"/>
                <a:gd name="T8" fmla="*/ 976 w 1079"/>
                <a:gd name="T9" fmla="*/ 823 h 1083"/>
                <a:gd name="T10" fmla="*/ 896 w 1079"/>
                <a:gd name="T11" fmla="*/ 807 h 1083"/>
                <a:gd name="T12" fmla="*/ 802 w 1079"/>
                <a:gd name="T13" fmla="*/ 919 h 1083"/>
                <a:gd name="T14" fmla="*/ 807 w 1079"/>
                <a:gd name="T15" fmla="*/ 1016 h 1083"/>
                <a:gd name="T16" fmla="*/ 647 w 1079"/>
                <a:gd name="T17" fmla="*/ 1045 h 1083"/>
                <a:gd name="T18" fmla="*/ 607 w 1079"/>
                <a:gd name="T19" fmla="*/ 979 h 1083"/>
                <a:gd name="T20" fmla="*/ 450 w 1079"/>
                <a:gd name="T21" fmla="*/ 992 h 1083"/>
                <a:gd name="T22" fmla="*/ 380 w 1079"/>
                <a:gd name="T23" fmla="*/ 1075 h 1083"/>
                <a:gd name="T24" fmla="*/ 249 w 1079"/>
                <a:gd name="T25" fmla="*/ 979 h 1083"/>
                <a:gd name="T26" fmla="*/ 275 w 1079"/>
                <a:gd name="T27" fmla="*/ 890 h 1083"/>
                <a:gd name="T28" fmla="*/ 171 w 1079"/>
                <a:gd name="T29" fmla="*/ 800 h 1083"/>
                <a:gd name="T30" fmla="*/ 66 w 1079"/>
                <a:gd name="T31" fmla="*/ 804 h 1083"/>
                <a:gd name="T32" fmla="*/ 42 w 1079"/>
                <a:gd name="T33" fmla="*/ 646 h 1083"/>
                <a:gd name="T34" fmla="*/ 113 w 1079"/>
                <a:gd name="T35" fmla="*/ 603 h 1083"/>
                <a:gd name="T36" fmla="*/ 103 w 1079"/>
                <a:gd name="T37" fmla="*/ 451 h 1083"/>
                <a:gd name="T38" fmla="*/ 9 w 1079"/>
                <a:gd name="T39" fmla="*/ 375 h 1083"/>
                <a:gd name="T40" fmla="*/ 105 w 1079"/>
                <a:gd name="T41" fmla="*/ 245 h 1083"/>
                <a:gd name="T42" fmla="*/ 207 w 1079"/>
                <a:gd name="T43" fmla="*/ 274 h 1083"/>
                <a:gd name="T44" fmla="*/ 298 w 1079"/>
                <a:gd name="T45" fmla="*/ 167 h 1083"/>
                <a:gd name="T46" fmla="*/ 289 w 1079"/>
                <a:gd name="T47" fmla="*/ 62 h 1083"/>
                <a:gd name="T48" fmla="*/ 449 w 1079"/>
                <a:gd name="T49" fmla="*/ 32 h 1083"/>
                <a:gd name="T50" fmla="*/ 498 w 1079"/>
                <a:gd name="T51" fmla="*/ 114 h 1083"/>
                <a:gd name="T52" fmla="*/ 630 w 1079"/>
                <a:gd name="T53" fmla="*/ 103 h 1083"/>
                <a:gd name="T54" fmla="*/ 705 w 1079"/>
                <a:gd name="T55" fmla="*/ 9 h 1083"/>
                <a:gd name="T56" fmla="*/ 837 w 1079"/>
                <a:gd name="T57" fmla="*/ 100 h 1083"/>
                <a:gd name="T58" fmla="*/ 814 w 1079"/>
                <a:gd name="T59" fmla="*/ 201 h 1083"/>
                <a:gd name="T60" fmla="*/ 929 w 1079"/>
                <a:gd name="T61" fmla="*/ 295 h 1083"/>
                <a:gd name="T62" fmla="*/ 1028 w 1079"/>
                <a:gd name="T63" fmla="*/ 290 h 1083"/>
                <a:gd name="T64" fmla="*/ 1079 w 1079"/>
                <a:gd name="T65" fmla="*/ 421 h 1083"/>
                <a:gd name="T66" fmla="*/ 535 w 1079"/>
                <a:gd name="T67" fmla="*/ 281 h 1083"/>
                <a:gd name="T68" fmla="*/ 552 w 1079"/>
                <a:gd name="T69" fmla="*/ 818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9" h="1083">
                  <a:moveTo>
                    <a:pt x="1079" y="421"/>
                  </a:moveTo>
                  <a:cubicBezTo>
                    <a:pt x="1072" y="427"/>
                    <a:pt x="1065" y="437"/>
                    <a:pt x="1055" y="442"/>
                  </a:cubicBezTo>
                  <a:cubicBezTo>
                    <a:pt x="1036" y="451"/>
                    <a:pt x="1015" y="459"/>
                    <a:pt x="994" y="466"/>
                  </a:cubicBezTo>
                  <a:cubicBezTo>
                    <a:pt x="983" y="470"/>
                    <a:pt x="980" y="477"/>
                    <a:pt x="981" y="488"/>
                  </a:cubicBezTo>
                  <a:cubicBezTo>
                    <a:pt x="982" y="526"/>
                    <a:pt x="982" y="564"/>
                    <a:pt x="981" y="602"/>
                  </a:cubicBezTo>
                  <a:cubicBezTo>
                    <a:pt x="981" y="613"/>
                    <a:pt x="982" y="619"/>
                    <a:pt x="993" y="623"/>
                  </a:cubicBezTo>
                  <a:cubicBezTo>
                    <a:pt x="1013" y="631"/>
                    <a:pt x="1032" y="641"/>
                    <a:pt x="1051" y="649"/>
                  </a:cubicBezTo>
                  <a:cubicBezTo>
                    <a:pt x="1070" y="656"/>
                    <a:pt x="1076" y="670"/>
                    <a:pt x="1069" y="687"/>
                  </a:cubicBezTo>
                  <a:cubicBezTo>
                    <a:pt x="1052" y="729"/>
                    <a:pt x="1034" y="771"/>
                    <a:pt x="1015" y="812"/>
                  </a:cubicBezTo>
                  <a:cubicBezTo>
                    <a:pt x="1008" y="828"/>
                    <a:pt x="992" y="830"/>
                    <a:pt x="976" y="823"/>
                  </a:cubicBezTo>
                  <a:cubicBezTo>
                    <a:pt x="958" y="816"/>
                    <a:pt x="940" y="809"/>
                    <a:pt x="923" y="801"/>
                  </a:cubicBezTo>
                  <a:cubicBezTo>
                    <a:pt x="911" y="795"/>
                    <a:pt x="905" y="797"/>
                    <a:pt x="896" y="807"/>
                  </a:cubicBezTo>
                  <a:cubicBezTo>
                    <a:pt x="868" y="837"/>
                    <a:pt x="838" y="866"/>
                    <a:pt x="808" y="894"/>
                  </a:cubicBezTo>
                  <a:cubicBezTo>
                    <a:pt x="800" y="902"/>
                    <a:pt x="796" y="908"/>
                    <a:pt x="802" y="919"/>
                  </a:cubicBezTo>
                  <a:cubicBezTo>
                    <a:pt x="810" y="939"/>
                    <a:pt x="817" y="959"/>
                    <a:pt x="824" y="979"/>
                  </a:cubicBezTo>
                  <a:cubicBezTo>
                    <a:pt x="831" y="997"/>
                    <a:pt x="824" y="1009"/>
                    <a:pt x="807" y="1016"/>
                  </a:cubicBezTo>
                  <a:cubicBezTo>
                    <a:pt x="767" y="1032"/>
                    <a:pt x="727" y="1047"/>
                    <a:pt x="686" y="1063"/>
                  </a:cubicBezTo>
                  <a:cubicBezTo>
                    <a:pt x="666" y="1070"/>
                    <a:pt x="655" y="1065"/>
                    <a:pt x="647" y="1045"/>
                  </a:cubicBezTo>
                  <a:cubicBezTo>
                    <a:pt x="639" y="1027"/>
                    <a:pt x="632" y="1008"/>
                    <a:pt x="624" y="990"/>
                  </a:cubicBezTo>
                  <a:cubicBezTo>
                    <a:pt x="621" y="985"/>
                    <a:pt x="613" y="979"/>
                    <a:pt x="607" y="979"/>
                  </a:cubicBezTo>
                  <a:cubicBezTo>
                    <a:pt x="562" y="978"/>
                    <a:pt x="518" y="979"/>
                    <a:pt x="473" y="977"/>
                  </a:cubicBezTo>
                  <a:cubicBezTo>
                    <a:pt x="460" y="977"/>
                    <a:pt x="454" y="979"/>
                    <a:pt x="450" y="992"/>
                  </a:cubicBezTo>
                  <a:cubicBezTo>
                    <a:pt x="442" y="1014"/>
                    <a:pt x="432" y="1036"/>
                    <a:pt x="422" y="1058"/>
                  </a:cubicBezTo>
                  <a:cubicBezTo>
                    <a:pt x="413" y="1078"/>
                    <a:pt x="400" y="1083"/>
                    <a:pt x="380" y="1075"/>
                  </a:cubicBezTo>
                  <a:cubicBezTo>
                    <a:pt x="342" y="1059"/>
                    <a:pt x="304" y="1042"/>
                    <a:pt x="267" y="1025"/>
                  </a:cubicBezTo>
                  <a:cubicBezTo>
                    <a:pt x="243" y="1015"/>
                    <a:pt x="239" y="1003"/>
                    <a:pt x="249" y="979"/>
                  </a:cubicBezTo>
                  <a:cubicBezTo>
                    <a:pt x="259" y="956"/>
                    <a:pt x="270" y="933"/>
                    <a:pt x="279" y="910"/>
                  </a:cubicBezTo>
                  <a:cubicBezTo>
                    <a:pt x="281" y="904"/>
                    <a:pt x="279" y="895"/>
                    <a:pt x="275" y="890"/>
                  </a:cubicBezTo>
                  <a:cubicBezTo>
                    <a:pt x="248" y="861"/>
                    <a:pt x="221" y="833"/>
                    <a:pt x="193" y="806"/>
                  </a:cubicBezTo>
                  <a:cubicBezTo>
                    <a:pt x="188" y="801"/>
                    <a:pt x="178" y="798"/>
                    <a:pt x="171" y="800"/>
                  </a:cubicBezTo>
                  <a:cubicBezTo>
                    <a:pt x="150" y="806"/>
                    <a:pt x="130" y="815"/>
                    <a:pt x="110" y="823"/>
                  </a:cubicBezTo>
                  <a:cubicBezTo>
                    <a:pt x="86" y="832"/>
                    <a:pt x="75" y="827"/>
                    <a:pt x="66" y="804"/>
                  </a:cubicBezTo>
                  <a:cubicBezTo>
                    <a:pt x="51" y="766"/>
                    <a:pt x="36" y="729"/>
                    <a:pt x="22" y="691"/>
                  </a:cubicBezTo>
                  <a:cubicBezTo>
                    <a:pt x="13" y="666"/>
                    <a:pt x="18" y="656"/>
                    <a:pt x="42" y="646"/>
                  </a:cubicBezTo>
                  <a:cubicBezTo>
                    <a:pt x="61" y="638"/>
                    <a:pt x="80" y="630"/>
                    <a:pt x="100" y="623"/>
                  </a:cubicBezTo>
                  <a:cubicBezTo>
                    <a:pt x="110" y="620"/>
                    <a:pt x="113" y="614"/>
                    <a:pt x="113" y="603"/>
                  </a:cubicBezTo>
                  <a:cubicBezTo>
                    <a:pt x="113" y="560"/>
                    <a:pt x="114" y="516"/>
                    <a:pt x="117" y="473"/>
                  </a:cubicBezTo>
                  <a:cubicBezTo>
                    <a:pt x="117" y="462"/>
                    <a:pt x="115" y="455"/>
                    <a:pt x="103" y="451"/>
                  </a:cubicBezTo>
                  <a:cubicBezTo>
                    <a:pt x="77" y="440"/>
                    <a:pt x="52" y="429"/>
                    <a:pt x="26" y="418"/>
                  </a:cubicBezTo>
                  <a:cubicBezTo>
                    <a:pt x="5" y="409"/>
                    <a:pt x="0" y="396"/>
                    <a:pt x="9" y="375"/>
                  </a:cubicBezTo>
                  <a:cubicBezTo>
                    <a:pt x="25" y="338"/>
                    <a:pt x="41" y="300"/>
                    <a:pt x="58" y="263"/>
                  </a:cubicBezTo>
                  <a:cubicBezTo>
                    <a:pt x="69" y="238"/>
                    <a:pt x="78" y="235"/>
                    <a:pt x="105" y="245"/>
                  </a:cubicBezTo>
                  <a:cubicBezTo>
                    <a:pt x="131" y="256"/>
                    <a:pt x="158" y="267"/>
                    <a:pt x="184" y="279"/>
                  </a:cubicBezTo>
                  <a:cubicBezTo>
                    <a:pt x="194" y="284"/>
                    <a:pt x="199" y="282"/>
                    <a:pt x="207" y="274"/>
                  </a:cubicBezTo>
                  <a:cubicBezTo>
                    <a:pt x="235" y="246"/>
                    <a:pt x="262" y="218"/>
                    <a:pt x="292" y="192"/>
                  </a:cubicBezTo>
                  <a:cubicBezTo>
                    <a:pt x="301" y="184"/>
                    <a:pt x="302" y="178"/>
                    <a:pt x="298" y="167"/>
                  </a:cubicBezTo>
                  <a:cubicBezTo>
                    <a:pt x="288" y="145"/>
                    <a:pt x="280" y="122"/>
                    <a:pt x="272" y="100"/>
                  </a:cubicBezTo>
                  <a:cubicBezTo>
                    <a:pt x="265" y="82"/>
                    <a:pt x="271" y="69"/>
                    <a:pt x="289" y="62"/>
                  </a:cubicBezTo>
                  <a:cubicBezTo>
                    <a:pt x="329" y="45"/>
                    <a:pt x="369" y="29"/>
                    <a:pt x="409" y="14"/>
                  </a:cubicBezTo>
                  <a:cubicBezTo>
                    <a:pt x="429" y="7"/>
                    <a:pt x="440" y="12"/>
                    <a:pt x="449" y="32"/>
                  </a:cubicBezTo>
                  <a:cubicBezTo>
                    <a:pt x="458" y="55"/>
                    <a:pt x="468" y="78"/>
                    <a:pt x="476" y="101"/>
                  </a:cubicBezTo>
                  <a:cubicBezTo>
                    <a:pt x="480" y="111"/>
                    <a:pt x="487" y="114"/>
                    <a:pt x="498" y="114"/>
                  </a:cubicBezTo>
                  <a:cubicBezTo>
                    <a:pt x="535" y="113"/>
                    <a:pt x="572" y="113"/>
                    <a:pt x="609" y="115"/>
                  </a:cubicBezTo>
                  <a:cubicBezTo>
                    <a:pt x="621" y="116"/>
                    <a:pt x="626" y="112"/>
                    <a:pt x="630" y="103"/>
                  </a:cubicBezTo>
                  <a:cubicBezTo>
                    <a:pt x="641" y="76"/>
                    <a:pt x="652" y="50"/>
                    <a:pt x="664" y="24"/>
                  </a:cubicBezTo>
                  <a:cubicBezTo>
                    <a:pt x="673" y="5"/>
                    <a:pt x="685" y="0"/>
                    <a:pt x="705" y="9"/>
                  </a:cubicBezTo>
                  <a:cubicBezTo>
                    <a:pt x="743" y="25"/>
                    <a:pt x="782" y="42"/>
                    <a:pt x="820" y="59"/>
                  </a:cubicBezTo>
                  <a:cubicBezTo>
                    <a:pt x="840" y="67"/>
                    <a:pt x="845" y="79"/>
                    <a:pt x="837" y="100"/>
                  </a:cubicBezTo>
                  <a:cubicBezTo>
                    <a:pt x="828" y="125"/>
                    <a:pt x="818" y="150"/>
                    <a:pt x="806" y="174"/>
                  </a:cubicBezTo>
                  <a:cubicBezTo>
                    <a:pt x="801" y="186"/>
                    <a:pt x="805" y="192"/>
                    <a:pt x="814" y="201"/>
                  </a:cubicBezTo>
                  <a:cubicBezTo>
                    <a:pt x="843" y="229"/>
                    <a:pt x="871" y="257"/>
                    <a:pt x="899" y="287"/>
                  </a:cubicBezTo>
                  <a:cubicBezTo>
                    <a:pt x="908" y="298"/>
                    <a:pt x="916" y="301"/>
                    <a:pt x="929" y="295"/>
                  </a:cubicBezTo>
                  <a:cubicBezTo>
                    <a:pt x="948" y="286"/>
                    <a:pt x="968" y="279"/>
                    <a:pt x="987" y="272"/>
                  </a:cubicBezTo>
                  <a:cubicBezTo>
                    <a:pt x="1010" y="264"/>
                    <a:pt x="1019" y="268"/>
                    <a:pt x="1028" y="290"/>
                  </a:cubicBezTo>
                  <a:cubicBezTo>
                    <a:pt x="1043" y="327"/>
                    <a:pt x="1058" y="364"/>
                    <a:pt x="1072" y="401"/>
                  </a:cubicBezTo>
                  <a:cubicBezTo>
                    <a:pt x="1074" y="406"/>
                    <a:pt x="1075" y="411"/>
                    <a:pt x="1079" y="421"/>
                  </a:cubicBezTo>
                  <a:close/>
                  <a:moveTo>
                    <a:pt x="817" y="550"/>
                  </a:moveTo>
                  <a:cubicBezTo>
                    <a:pt x="819" y="401"/>
                    <a:pt x="693" y="276"/>
                    <a:pt x="535" y="281"/>
                  </a:cubicBezTo>
                  <a:cubicBezTo>
                    <a:pt x="395" y="286"/>
                    <a:pt x="280" y="407"/>
                    <a:pt x="281" y="555"/>
                  </a:cubicBezTo>
                  <a:cubicBezTo>
                    <a:pt x="282" y="699"/>
                    <a:pt x="405" y="819"/>
                    <a:pt x="552" y="818"/>
                  </a:cubicBezTo>
                  <a:cubicBezTo>
                    <a:pt x="696" y="816"/>
                    <a:pt x="818" y="694"/>
                    <a:pt x="817"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46" name="Freeform 7">
              <a:extLst>
                <a:ext uri="{FF2B5EF4-FFF2-40B4-BE49-F238E27FC236}">
                  <a16:creationId xmlns:a16="http://schemas.microsoft.com/office/drawing/2014/main" id="{870DF916-636D-479A-B1D7-9C00F0BA8A77}"/>
                </a:ext>
              </a:extLst>
            </p:cNvPr>
            <p:cNvSpPr>
              <a:spLocks/>
            </p:cNvSpPr>
            <p:nvPr/>
          </p:nvSpPr>
          <p:spPr bwMode="auto">
            <a:xfrm>
              <a:off x="14805026" y="5038725"/>
              <a:ext cx="1081088" cy="463550"/>
            </a:xfrm>
            <a:custGeom>
              <a:avLst/>
              <a:gdLst>
                <a:gd name="T0" fmla="*/ 0 w 499"/>
                <a:gd name="T1" fmla="*/ 1 h 215"/>
                <a:gd name="T2" fmla="*/ 89 w 499"/>
                <a:gd name="T3" fmla="*/ 1 h 215"/>
                <a:gd name="T4" fmla="*/ 107 w 499"/>
                <a:gd name="T5" fmla="*/ 8 h 215"/>
                <a:gd name="T6" fmla="*/ 478 w 499"/>
                <a:gd name="T7" fmla="*/ 147 h 215"/>
                <a:gd name="T8" fmla="*/ 498 w 499"/>
                <a:gd name="T9" fmla="*/ 170 h 215"/>
                <a:gd name="T10" fmla="*/ 497 w 499"/>
                <a:gd name="T11" fmla="*/ 215 h 215"/>
                <a:gd name="T12" fmla="*/ 0 w 499"/>
                <a:gd name="T13" fmla="*/ 1 h 215"/>
              </a:gdLst>
              <a:ahLst/>
              <a:cxnLst>
                <a:cxn ang="0">
                  <a:pos x="T0" y="T1"/>
                </a:cxn>
                <a:cxn ang="0">
                  <a:pos x="T2" y="T3"/>
                </a:cxn>
                <a:cxn ang="0">
                  <a:pos x="T4" y="T5"/>
                </a:cxn>
                <a:cxn ang="0">
                  <a:pos x="T6" y="T7"/>
                </a:cxn>
                <a:cxn ang="0">
                  <a:pos x="T8" y="T9"/>
                </a:cxn>
                <a:cxn ang="0">
                  <a:pos x="T10" y="T11"/>
                </a:cxn>
                <a:cxn ang="0">
                  <a:pos x="T12" y="T13"/>
                </a:cxn>
              </a:cxnLst>
              <a:rect l="0" t="0" r="r" b="b"/>
              <a:pathLst>
                <a:path w="499" h="215">
                  <a:moveTo>
                    <a:pt x="0" y="1"/>
                  </a:moveTo>
                  <a:cubicBezTo>
                    <a:pt x="30" y="1"/>
                    <a:pt x="59" y="0"/>
                    <a:pt x="89" y="1"/>
                  </a:cubicBezTo>
                  <a:cubicBezTo>
                    <a:pt x="95" y="1"/>
                    <a:pt x="102" y="5"/>
                    <a:pt x="107" y="8"/>
                  </a:cubicBezTo>
                  <a:cubicBezTo>
                    <a:pt x="221" y="81"/>
                    <a:pt x="345" y="126"/>
                    <a:pt x="478" y="147"/>
                  </a:cubicBezTo>
                  <a:cubicBezTo>
                    <a:pt x="492" y="150"/>
                    <a:pt x="499" y="154"/>
                    <a:pt x="498" y="170"/>
                  </a:cubicBezTo>
                  <a:cubicBezTo>
                    <a:pt x="496" y="184"/>
                    <a:pt x="497" y="199"/>
                    <a:pt x="497" y="215"/>
                  </a:cubicBezTo>
                  <a:cubicBezTo>
                    <a:pt x="310" y="191"/>
                    <a:pt x="144" y="12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47" name="Freeform 8">
              <a:extLst>
                <a:ext uri="{FF2B5EF4-FFF2-40B4-BE49-F238E27FC236}">
                  <a16:creationId xmlns:a16="http://schemas.microsoft.com/office/drawing/2014/main" id="{F943171F-0392-40BE-BC6C-DF663E419AD7}"/>
                </a:ext>
              </a:extLst>
            </p:cNvPr>
            <p:cNvSpPr>
              <a:spLocks/>
            </p:cNvSpPr>
            <p:nvPr/>
          </p:nvSpPr>
          <p:spPr bwMode="auto">
            <a:xfrm>
              <a:off x="14814551" y="1292225"/>
              <a:ext cx="1065213" cy="449263"/>
            </a:xfrm>
            <a:custGeom>
              <a:avLst/>
              <a:gdLst>
                <a:gd name="T0" fmla="*/ 0 w 492"/>
                <a:gd name="T1" fmla="*/ 207 h 208"/>
                <a:gd name="T2" fmla="*/ 492 w 492"/>
                <a:gd name="T3" fmla="*/ 0 h 208"/>
                <a:gd name="T4" fmla="*/ 492 w 492"/>
                <a:gd name="T5" fmla="*/ 60 h 208"/>
                <a:gd name="T6" fmla="*/ 351 w 492"/>
                <a:gd name="T7" fmla="*/ 92 h 208"/>
                <a:gd name="T8" fmla="*/ 122 w 492"/>
                <a:gd name="T9" fmla="*/ 193 h 208"/>
                <a:gd name="T10" fmla="*/ 74 w 492"/>
                <a:gd name="T11" fmla="*/ 207 h 208"/>
                <a:gd name="T12" fmla="*/ 0 w 492"/>
                <a:gd name="T13" fmla="*/ 207 h 208"/>
              </a:gdLst>
              <a:ahLst/>
              <a:cxnLst>
                <a:cxn ang="0">
                  <a:pos x="T0" y="T1"/>
                </a:cxn>
                <a:cxn ang="0">
                  <a:pos x="T2" y="T3"/>
                </a:cxn>
                <a:cxn ang="0">
                  <a:pos x="T4" y="T5"/>
                </a:cxn>
                <a:cxn ang="0">
                  <a:pos x="T6" y="T7"/>
                </a:cxn>
                <a:cxn ang="0">
                  <a:pos x="T8" y="T9"/>
                </a:cxn>
                <a:cxn ang="0">
                  <a:pos x="T10" y="T11"/>
                </a:cxn>
                <a:cxn ang="0">
                  <a:pos x="T12" y="T13"/>
                </a:cxn>
              </a:cxnLst>
              <a:rect l="0" t="0" r="r" b="b"/>
              <a:pathLst>
                <a:path w="492" h="208">
                  <a:moveTo>
                    <a:pt x="0" y="207"/>
                  </a:moveTo>
                  <a:cubicBezTo>
                    <a:pt x="92" y="126"/>
                    <a:pt x="276" y="24"/>
                    <a:pt x="492" y="0"/>
                  </a:cubicBezTo>
                  <a:cubicBezTo>
                    <a:pt x="492" y="20"/>
                    <a:pt x="492" y="40"/>
                    <a:pt x="492" y="60"/>
                  </a:cubicBezTo>
                  <a:cubicBezTo>
                    <a:pt x="445" y="71"/>
                    <a:pt x="397" y="79"/>
                    <a:pt x="351" y="92"/>
                  </a:cubicBezTo>
                  <a:cubicBezTo>
                    <a:pt x="270" y="115"/>
                    <a:pt x="193" y="147"/>
                    <a:pt x="122" y="193"/>
                  </a:cubicBezTo>
                  <a:cubicBezTo>
                    <a:pt x="107" y="203"/>
                    <a:pt x="92" y="208"/>
                    <a:pt x="74" y="207"/>
                  </a:cubicBezTo>
                  <a:cubicBezTo>
                    <a:pt x="51" y="206"/>
                    <a:pt x="28" y="207"/>
                    <a:pt x="0"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48" name="Freeform 9">
              <a:extLst>
                <a:ext uri="{FF2B5EF4-FFF2-40B4-BE49-F238E27FC236}">
                  <a16:creationId xmlns:a16="http://schemas.microsoft.com/office/drawing/2014/main" id="{43335280-6CDA-47C4-8CEE-CE1B90131DA6}"/>
                </a:ext>
              </a:extLst>
            </p:cNvPr>
            <p:cNvSpPr>
              <a:spLocks/>
            </p:cNvSpPr>
            <p:nvPr/>
          </p:nvSpPr>
          <p:spPr bwMode="auto">
            <a:xfrm>
              <a:off x="16373476" y="5043488"/>
              <a:ext cx="1082675" cy="457200"/>
            </a:xfrm>
            <a:custGeom>
              <a:avLst/>
              <a:gdLst>
                <a:gd name="T0" fmla="*/ 2 w 500"/>
                <a:gd name="T1" fmla="*/ 212 h 212"/>
                <a:gd name="T2" fmla="*/ 1 w 500"/>
                <a:gd name="T3" fmla="*/ 198 h 212"/>
                <a:gd name="T4" fmla="*/ 1 w 500"/>
                <a:gd name="T5" fmla="*/ 154 h 212"/>
                <a:gd name="T6" fmla="*/ 166 w 500"/>
                <a:gd name="T7" fmla="*/ 113 h 212"/>
                <a:gd name="T8" fmla="*/ 377 w 500"/>
                <a:gd name="T9" fmla="*/ 14 h 212"/>
                <a:gd name="T10" fmla="*/ 424 w 500"/>
                <a:gd name="T11" fmla="*/ 1 h 212"/>
                <a:gd name="T12" fmla="*/ 500 w 500"/>
                <a:gd name="T13" fmla="*/ 1 h 212"/>
                <a:gd name="T14" fmla="*/ 2 w 500"/>
                <a:gd name="T15" fmla="*/ 212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0" h="212">
                  <a:moveTo>
                    <a:pt x="2" y="212"/>
                  </a:moveTo>
                  <a:cubicBezTo>
                    <a:pt x="1" y="207"/>
                    <a:pt x="1" y="202"/>
                    <a:pt x="1" y="198"/>
                  </a:cubicBezTo>
                  <a:cubicBezTo>
                    <a:pt x="0" y="182"/>
                    <a:pt x="1" y="167"/>
                    <a:pt x="1" y="154"/>
                  </a:cubicBezTo>
                  <a:cubicBezTo>
                    <a:pt x="57" y="140"/>
                    <a:pt x="113" y="129"/>
                    <a:pt x="166" y="113"/>
                  </a:cubicBezTo>
                  <a:cubicBezTo>
                    <a:pt x="241" y="90"/>
                    <a:pt x="311" y="57"/>
                    <a:pt x="377" y="14"/>
                  </a:cubicBezTo>
                  <a:cubicBezTo>
                    <a:pt x="392" y="5"/>
                    <a:pt x="406" y="0"/>
                    <a:pt x="424" y="1"/>
                  </a:cubicBezTo>
                  <a:cubicBezTo>
                    <a:pt x="448" y="2"/>
                    <a:pt x="472" y="1"/>
                    <a:pt x="500" y="1"/>
                  </a:cubicBezTo>
                  <a:cubicBezTo>
                    <a:pt x="353" y="119"/>
                    <a:pt x="187" y="189"/>
                    <a:pt x="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49" name="Freeform 10">
              <a:extLst>
                <a:ext uri="{FF2B5EF4-FFF2-40B4-BE49-F238E27FC236}">
                  <a16:creationId xmlns:a16="http://schemas.microsoft.com/office/drawing/2014/main" id="{7F398C6D-74BE-4D68-B796-B094AED6C6D0}"/>
                </a:ext>
              </a:extLst>
            </p:cNvPr>
            <p:cNvSpPr>
              <a:spLocks/>
            </p:cNvSpPr>
            <p:nvPr/>
          </p:nvSpPr>
          <p:spPr bwMode="auto">
            <a:xfrm>
              <a:off x="16378238" y="1290638"/>
              <a:ext cx="1054100" cy="471488"/>
            </a:xfrm>
            <a:custGeom>
              <a:avLst/>
              <a:gdLst>
                <a:gd name="T0" fmla="*/ 0 w 487"/>
                <a:gd name="T1" fmla="*/ 62 h 218"/>
                <a:gd name="T2" fmla="*/ 0 w 487"/>
                <a:gd name="T3" fmla="*/ 15 h 218"/>
                <a:gd name="T4" fmla="*/ 1 w 487"/>
                <a:gd name="T5" fmla="*/ 0 h 218"/>
                <a:gd name="T6" fmla="*/ 487 w 487"/>
                <a:gd name="T7" fmla="*/ 206 h 218"/>
                <a:gd name="T8" fmla="*/ 360 w 487"/>
                <a:gd name="T9" fmla="*/ 190 h 218"/>
                <a:gd name="T10" fmla="*/ 24 w 487"/>
                <a:gd name="T11" fmla="*/ 67 h 218"/>
                <a:gd name="T12" fmla="*/ 0 w 487"/>
                <a:gd name="T13" fmla="*/ 62 h 218"/>
              </a:gdLst>
              <a:ahLst/>
              <a:cxnLst>
                <a:cxn ang="0">
                  <a:pos x="T0" y="T1"/>
                </a:cxn>
                <a:cxn ang="0">
                  <a:pos x="T2" y="T3"/>
                </a:cxn>
                <a:cxn ang="0">
                  <a:pos x="T4" y="T5"/>
                </a:cxn>
                <a:cxn ang="0">
                  <a:pos x="T6" y="T7"/>
                </a:cxn>
                <a:cxn ang="0">
                  <a:pos x="T8" y="T9"/>
                </a:cxn>
                <a:cxn ang="0">
                  <a:pos x="T10" y="T11"/>
                </a:cxn>
                <a:cxn ang="0">
                  <a:pos x="T12" y="T13"/>
                </a:cxn>
              </a:cxnLst>
              <a:rect l="0" t="0" r="r" b="b"/>
              <a:pathLst>
                <a:path w="487" h="218">
                  <a:moveTo>
                    <a:pt x="0" y="62"/>
                  </a:moveTo>
                  <a:cubicBezTo>
                    <a:pt x="0" y="46"/>
                    <a:pt x="0" y="31"/>
                    <a:pt x="0" y="15"/>
                  </a:cubicBezTo>
                  <a:cubicBezTo>
                    <a:pt x="0" y="11"/>
                    <a:pt x="0" y="6"/>
                    <a:pt x="1" y="0"/>
                  </a:cubicBezTo>
                  <a:cubicBezTo>
                    <a:pt x="183" y="23"/>
                    <a:pt x="345" y="91"/>
                    <a:pt x="487" y="206"/>
                  </a:cubicBezTo>
                  <a:cubicBezTo>
                    <a:pt x="444" y="203"/>
                    <a:pt x="402" y="218"/>
                    <a:pt x="360" y="190"/>
                  </a:cubicBezTo>
                  <a:cubicBezTo>
                    <a:pt x="258" y="124"/>
                    <a:pt x="144" y="85"/>
                    <a:pt x="24" y="67"/>
                  </a:cubicBezTo>
                  <a:cubicBezTo>
                    <a:pt x="17" y="66"/>
                    <a:pt x="9" y="64"/>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0" name="Freeform 11">
              <a:extLst>
                <a:ext uri="{FF2B5EF4-FFF2-40B4-BE49-F238E27FC236}">
                  <a16:creationId xmlns:a16="http://schemas.microsoft.com/office/drawing/2014/main" id="{40DFB734-A26D-4456-AA19-362048992287}"/>
                </a:ext>
              </a:extLst>
            </p:cNvPr>
            <p:cNvSpPr>
              <a:spLocks/>
            </p:cNvSpPr>
            <p:nvPr/>
          </p:nvSpPr>
          <p:spPr bwMode="auto">
            <a:xfrm>
              <a:off x="17753013" y="3619500"/>
              <a:ext cx="481013" cy="928688"/>
            </a:xfrm>
            <a:custGeom>
              <a:avLst/>
              <a:gdLst>
                <a:gd name="T0" fmla="*/ 222 w 222"/>
                <a:gd name="T1" fmla="*/ 5 h 430"/>
                <a:gd name="T2" fmla="*/ 84 w 222"/>
                <a:gd name="T3" fmla="*/ 411 h 430"/>
                <a:gd name="T4" fmla="*/ 52 w 222"/>
                <a:gd name="T5" fmla="*/ 429 h 430"/>
                <a:gd name="T6" fmla="*/ 0 w 222"/>
                <a:gd name="T7" fmla="*/ 429 h 430"/>
                <a:gd name="T8" fmla="*/ 44 w 222"/>
                <a:gd name="T9" fmla="*/ 355 h 430"/>
                <a:gd name="T10" fmla="*/ 160 w 222"/>
                <a:gd name="T11" fmla="*/ 19 h 430"/>
                <a:gd name="T12" fmla="*/ 181 w 222"/>
                <a:gd name="T13" fmla="*/ 2 h 430"/>
                <a:gd name="T14" fmla="*/ 222 w 222"/>
                <a:gd name="T15" fmla="*/ 5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430">
                  <a:moveTo>
                    <a:pt x="222" y="5"/>
                  </a:moveTo>
                  <a:cubicBezTo>
                    <a:pt x="207" y="153"/>
                    <a:pt x="159" y="287"/>
                    <a:pt x="84" y="411"/>
                  </a:cubicBezTo>
                  <a:cubicBezTo>
                    <a:pt x="76" y="424"/>
                    <a:pt x="67" y="430"/>
                    <a:pt x="52" y="429"/>
                  </a:cubicBezTo>
                  <a:cubicBezTo>
                    <a:pt x="36" y="427"/>
                    <a:pt x="19" y="429"/>
                    <a:pt x="0" y="429"/>
                  </a:cubicBezTo>
                  <a:cubicBezTo>
                    <a:pt x="16" y="402"/>
                    <a:pt x="31" y="379"/>
                    <a:pt x="44" y="355"/>
                  </a:cubicBezTo>
                  <a:cubicBezTo>
                    <a:pt x="105" y="251"/>
                    <a:pt x="142" y="138"/>
                    <a:pt x="160" y="19"/>
                  </a:cubicBezTo>
                  <a:cubicBezTo>
                    <a:pt x="162" y="5"/>
                    <a:pt x="167" y="0"/>
                    <a:pt x="181" y="2"/>
                  </a:cubicBezTo>
                  <a:cubicBezTo>
                    <a:pt x="194" y="4"/>
                    <a:pt x="208" y="4"/>
                    <a:pt x="2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1" name="Freeform 12">
              <a:extLst>
                <a:ext uri="{FF2B5EF4-FFF2-40B4-BE49-F238E27FC236}">
                  <a16:creationId xmlns:a16="http://schemas.microsoft.com/office/drawing/2014/main" id="{49C04128-1E70-4112-A4E3-C24B8E780722}"/>
                </a:ext>
              </a:extLst>
            </p:cNvPr>
            <p:cNvSpPr>
              <a:spLocks/>
            </p:cNvSpPr>
            <p:nvPr/>
          </p:nvSpPr>
          <p:spPr bwMode="auto">
            <a:xfrm>
              <a:off x="14017626" y="2227263"/>
              <a:ext cx="490538" cy="900113"/>
            </a:xfrm>
            <a:custGeom>
              <a:avLst/>
              <a:gdLst>
                <a:gd name="T0" fmla="*/ 0 w 227"/>
                <a:gd name="T1" fmla="*/ 416 h 417"/>
                <a:gd name="T2" fmla="*/ 42 w 227"/>
                <a:gd name="T3" fmla="*/ 240 h 417"/>
                <a:gd name="T4" fmla="*/ 147 w 227"/>
                <a:gd name="T5" fmla="*/ 17 h 417"/>
                <a:gd name="T6" fmla="*/ 176 w 227"/>
                <a:gd name="T7" fmla="*/ 1 h 417"/>
                <a:gd name="T8" fmla="*/ 227 w 227"/>
                <a:gd name="T9" fmla="*/ 1 h 417"/>
                <a:gd name="T10" fmla="*/ 156 w 227"/>
                <a:gd name="T11" fmla="*/ 127 h 417"/>
                <a:gd name="T12" fmla="*/ 70 w 227"/>
                <a:gd name="T13" fmla="*/ 397 h 417"/>
                <a:gd name="T14" fmla="*/ 47 w 227"/>
                <a:gd name="T15" fmla="*/ 416 h 417"/>
                <a:gd name="T16" fmla="*/ 0 w 227"/>
                <a:gd name="T17" fmla="*/ 41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417">
                  <a:moveTo>
                    <a:pt x="0" y="416"/>
                  </a:moveTo>
                  <a:cubicBezTo>
                    <a:pt x="15" y="354"/>
                    <a:pt x="26" y="296"/>
                    <a:pt x="42" y="240"/>
                  </a:cubicBezTo>
                  <a:cubicBezTo>
                    <a:pt x="66" y="161"/>
                    <a:pt x="103" y="87"/>
                    <a:pt x="147" y="17"/>
                  </a:cubicBezTo>
                  <a:cubicBezTo>
                    <a:pt x="154" y="5"/>
                    <a:pt x="162" y="0"/>
                    <a:pt x="176" y="1"/>
                  </a:cubicBezTo>
                  <a:cubicBezTo>
                    <a:pt x="193" y="2"/>
                    <a:pt x="210" y="1"/>
                    <a:pt x="227" y="1"/>
                  </a:cubicBezTo>
                  <a:cubicBezTo>
                    <a:pt x="203" y="44"/>
                    <a:pt x="178" y="85"/>
                    <a:pt x="156" y="127"/>
                  </a:cubicBezTo>
                  <a:cubicBezTo>
                    <a:pt x="112" y="212"/>
                    <a:pt x="84" y="303"/>
                    <a:pt x="70" y="397"/>
                  </a:cubicBezTo>
                  <a:cubicBezTo>
                    <a:pt x="67" y="413"/>
                    <a:pt x="62" y="417"/>
                    <a:pt x="47" y="416"/>
                  </a:cubicBezTo>
                  <a:cubicBezTo>
                    <a:pt x="34" y="415"/>
                    <a:pt x="20" y="416"/>
                    <a:pt x="0" y="4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2" name="Freeform 13">
              <a:extLst>
                <a:ext uri="{FF2B5EF4-FFF2-40B4-BE49-F238E27FC236}">
                  <a16:creationId xmlns:a16="http://schemas.microsoft.com/office/drawing/2014/main" id="{35CCF79A-DD32-4E5B-8519-E60C2FE84CCB}"/>
                </a:ext>
              </a:extLst>
            </p:cNvPr>
            <p:cNvSpPr>
              <a:spLocks/>
            </p:cNvSpPr>
            <p:nvPr/>
          </p:nvSpPr>
          <p:spPr bwMode="auto">
            <a:xfrm>
              <a:off x="14020801" y="3619500"/>
              <a:ext cx="473075" cy="920750"/>
            </a:xfrm>
            <a:custGeom>
              <a:avLst/>
              <a:gdLst>
                <a:gd name="T0" fmla="*/ 218 w 218"/>
                <a:gd name="T1" fmla="*/ 425 h 426"/>
                <a:gd name="T2" fmla="*/ 158 w 218"/>
                <a:gd name="T3" fmla="*/ 425 h 426"/>
                <a:gd name="T4" fmla="*/ 143 w 218"/>
                <a:gd name="T5" fmla="*/ 415 h 426"/>
                <a:gd name="T6" fmla="*/ 7 w 218"/>
                <a:gd name="T7" fmla="*/ 47 h 426"/>
                <a:gd name="T8" fmla="*/ 3 w 218"/>
                <a:gd name="T9" fmla="*/ 25 h 426"/>
                <a:gd name="T10" fmla="*/ 0 w 218"/>
                <a:gd name="T11" fmla="*/ 2 h 426"/>
                <a:gd name="T12" fmla="*/ 50 w 218"/>
                <a:gd name="T13" fmla="*/ 2 h 426"/>
                <a:gd name="T14" fmla="*/ 63 w 218"/>
                <a:gd name="T15" fmla="*/ 20 h 426"/>
                <a:gd name="T16" fmla="*/ 142 w 218"/>
                <a:gd name="T17" fmla="*/ 285 h 426"/>
                <a:gd name="T18" fmla="*/ 218 w 218"/>
                <a:gd name="T19" fmla="*/ 42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426">
                  <a:moveTo>
                    <a:pt x="218" y="425"/>
                  </a:moveTo>
                  <a:cubicBezTo>
                    <a:pt x="199" y="425"/>
                    <a:pt x="178" y="426"/>
                    <a:pt x="158" y="425"/>
                  </a:cubicBezTo>
                  <a:cubicBezTo>
                    <a:pt x="152" y="425"/>
                    <a:pt x="146" y="419"/>
                    <a:pt x="143" y="415"/>
                  </a:cubicBezTo>
                  <a:cubicBezTo>
                    <a:pt x="73" y="301"/>
                    <a:pt x="27" y="179"/>
                    <a:pt x="7" y="47"/>
                  </a:cubicBezTo>
                  <a:cubicBezTo>
                    <a:pt x="6" y="40"/>
                    <a:pt x="4" y="33"/>
                    <a:pt x="3" y="25"/>
                  </a:cubicBezTo>
                  <a:cubicBezTo>
                    <a:pt x="2" y="18"/>
                    <a:pt x="1" y="11"/>
                    <a:pt x="0" y="2"/>
                  </a:cubicBezTo>
                  <a:cubicBezTo>
                    <a:pt x="17" y="2"/>
                    <a:pt x="34" y="0"/>
                    <a:pt x="50" y="2"/>
                  </a:cubicBezTo>
                  <a:cubicBezTo>
                    <a:pt x="55" y="3"/>
                    <a:pt x="62" y="14"/>
                    <a:pt x="63" y="20"/>
                  </a:cubicBezTo>
                  <a:cubicBezTo>
                    <a:pt x="77" y="112"/>
                    <a:pt x="102" y="201"/>
                    <a:pt x="142" y="285"/>
                  </a:cubicBezTo>
                  <a:cubicBezTo>
                    <a:pt x="165" y="332"/>
                    <a:pt x="192" y="377"/>
                    <a:pt x="218" y="4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3" name="Freeform 14">
              <a:extLst>
                <a:ext uri="{FF2B5EF4-FFF2-40B4-BE49-F238E27FC236}">
                  <a16:creationId xmlns:a16="http://schemas.microsoft.com/office/drawing/2014/main" id="{91A4F97A-7AAC-4F27-A868-8B50D511721C}"/>
                </a:ext>
              </a:extLst>
            </p:cNvPr>
            <p:cNvSpPr>
              <a:spLocks/>
            </p:cNvSpPr>
            <p:nvPr/>
          </p:nvSpPr>
          <p:spPr bwMode="auto">
            <a:xfrm>
              <a:off x="17748251" y="2238375"/>
              <a:ext cx="485775" cy="889000"/>
            </a:xfrm>
            <a:custGeom>
              <a:avLst/>
              <a:gdLst>
                <a:gd name="T0" fmla="*/ 224 w 224"/>
                <a:gd name="T1" fmla="*/ 412 h 412"/>
                <a:gd name="T2" fmla="*/ 169 w 224"/>
                <a:gd name="T3" fmla="*/ 412 h 412"/>
                <a:gd name="T4" fmla="*/ 106 w 224"/>
                <a:gd name="T5" fmla="*/ 200 h 412"/>
                <a:gd name="T6" fmla="*/ 0 w 224"/>
                <a:gd name="T7" fmla="*/ 1 h 412"/>
                <a:gd name="T8" fmla="*/ 69 w 224"/>
                <a:gd name="T9" fmla="*/ 1 h 412"/>
                <a:gd name="T10" fmla="*/ 80 w 224"/>
                <a:gd name="T11" fmla="*/ 12 h 412"/>
                <a:gd name="T12" fmla="*/ 224 w 224"/>
                <a:gd name="T13" fmla="*/ 412 h 412"/>
              </a:gdLst>
              <a:ahLst/>
              <a:cxnLst>
                <a:cxn ang="0">
                  <a:pos x="T0" y="T1"/>
                </a:cxn>
                <a:cxn ang="0">
                  <a:pos x="T2" y="T3"/>
                </a:cxn>
                <a:cxn ang="0">
                  <a:pos x="T4" y="T5"/>
                </a:cxn>
                <a:cxn ang="0">
                  <a:pos x="T6" y="T7"/>
                </a:cxn>
                <a:cxn ang="0">
                  <a:pos x="T8" y="T9"/>
                </a:cxn>
                <a:cxn ang="0">
                  <a:pos x="T10" y="T11"/>
                </a:cxn>
                <a:cxn ang="0">
                  <a:pos x="T12" y="T13"/>
                </a:cxn>
              </a:cxnLst>
              <a:rect l="0" t="0" r="r" b="b"/>
              <a:pathLst>
                <a:path w="224" h="412">
                  <a:moveTo>
                    <a:pt x="224" y="412"/>
                  </a:moveTo>
                  <a:cubicBezTo>
                    <a:pt x="204" y="412"/>
                    <a:pt x="184" y="412"/>
                    <a:pt x="169" y="412"/>
                  </a:cubicBezTo>
                  <a:cubicBezTo>
                    <a:pt x="148" y="340"/>
                    <a:pt x="129" y="269"/>
                    <a:pt x="106" y="200"/>
                  </a:cubicBezTo>
                  <a:cubicBezTo>
                    <a:pt x="82" y="130"/>
                    <a:pt x="45" y="65"/>
                    <a:pt x="0" y="1"/>
                  </a:cubicBezTo>
                  <a:cubicBezTo>
                    <a:pt x="25" y="1"/>
                    <a:pt x="47" y="0"/>
                    <a:pt x="69" y="1"/>
                  </a:cubicBezTo>
                  <a:cubicBezTo>
                    <a:pt x="73" y="1"/>
                    <a:pt x="77" y="7"/>
                    <a:pt x="80" y="12"/>
                  </a:cubicBezTo>
                  <a:cubicBezTo>
                    <a:pt x="157" y="135"/>
                    <a:pt x="205" y="268"/>
                    <a:pt x="224" y="4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4" name="Freeform 15">
              <a:extLst>
                <a:ext uri="{FF2B5EF4-FFF2-40B4-BE49-F238E27FC236}">
                  <a16:creationId xmlns:a16="http://schemas.microsoft.com/office/drawing/2014/main" id="{223C2AD6-3A31-453C-974F-A86012D1C417}"/>
                </a:ext>
              </a:extLst>
            </p:cNvPr>
            <p:cNvSpPr>
              <a:spLocks/>
            </p:cNvSpPr>
            <p:nvPr/>
          </p:nvSpPr>
          <p:spPr bwMode="auto">
            <a:xfrm>
              <a:off x="18103851" y="3262313"/>
              <a:ext cx="225425" cy="225425"/>
            </a:xfrm>
            <a:custGeom>
              <a:avLst/>
              <a:gdLst>
                <a:gd name="T0" fmla="*/ 0 w 104"/>
                <a:gd name="T1" fmla="*/ 0 h 105"/>
                <a:gd name="T2" fmla="*/ 104 w 104"/>
                <a:gd name="T3" fmla="*/ 0 h 105"/>
                <a:gd name="T4" fmla="*/ 104 w 104"/>
                <a:gd name="T5" fmla="*/ 105 h 105"/>
                <a:gd name="T6" fmla="*/ 0 w 104"/>
                <a:gd name="T7" fmla="*/ 105 h 105"/>
                <a:gd name="T8" fmla="*/ 0 w 104"/>
                <a:gd name="T9" fmla="*/ 0 h 105"/>
              </a:gdLst>
              <a:ahLst/>
              <a:cxnLst>
                <a:cxn ang="0">
                  <a:pos x="T0" y="T1"/>
                </a:cxn>
                <a:cxn ang="0">
                  <a:pos x="T2" y="T3"/>
                </a:cxn>
                <a:cxn ang="0">
                  <a:pos x="T4" y="T5"/>
                </a:cxn>
                <a:cxn ang="0">
                  <a:pos x="T6" y="T7"/>
                </a:cxn>
                <a:cxn ang="0">
                  <a:pos x="T8" y="T9"/>
                </a:cxn>
              </a:cxnLst>
              <a:rect l="0" t="0" r="r" b="b"/>
              <a:pathLst>
                <a:path w="104" h="105">
                  <a:moveTo>
                    <a:pt x="0" y="0"/>
                  </a:moveTo>
                  <a:cubicBezTo>
                    <a:pt x="36" y="0"/>
                    <a:pt x="69" y="0"/>
                    <a:pt x="104" y="0"/>
                  </a:cubicBezTo>
                  <a:cubicBezTo>
                    <a:pt x="104" y="35"/>
                    <a:pt x="104" y="69"/>
                    <a:pt x="104" y="105"/>
                  </a:cubicBezTo>
                  <a:cubicBezTo>
                    <a:pt x="69" y="105"/>
                    <a:pt x="35" y="105"/>
                    <a:pt x="0" y="105"/>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5" name="Freeform 16">
              <a:extLst>
                <a:ext uri="{FF2B5EF4-FFF2-40B4-BE49-F238E27FC236}">
                  <a16:creationId xmlns:a16="http://schemas.microsoft.com/office/drawing/2014/main" id="{21D813E5-76FB-48E4-94A1-8FE02CF0D423}"/>
                </a:ext>
              </a:extLst>
            </p:cNvPr>
            <p:cNvSpPr>
              <a:spLocks/>
            </p:cNvSpPr>
            <p:nvPr/>
          </p:nvSpPr>
          <p:spPr bwMode="auto">
            <a:xfrm>
              <a:off x="16016288" y="5335588"/>
              <a:ext cx="225425" cy="225425"/>
            </a:xfrm>
            <a:custGeom>
              <a:avLst/>
              <a:gdLst>
                <a:gd name="T0" fmla="*/ 104 w 104"/>
                <a:gd name="T1" fmla="*/ 104 h 104"/>
                <a:gd name="T2" fmla="*/ 0 w 104"/>
                <a:gd name="T3" fmla="*/ 104 h 104"/>
                <a:gd name="T4" fmla="*/ 0 w 104"/>
                <a:gd name="T5" fmla="*/ 0 h 104"/>
                <a:gd name="T6" fmla="*/ 104 w 104"/>
                <a:gd name="T7" fmla="*/ 0 h 104"/>
                <a:gd name="T8" fmla="*/ 104 w 104"/>
                <a:gd name="T9" fmla="*/ 104 h 104"/>
              </a:gdLst>
              <a:ahLst/>
              <a:cxnLst>
                <a:cxn ang="0">
                  <a:pos x="T0" y="T1"/>
                </a:cxn>
                <a:cxn ang="0">
                  <a:pos x="T2" y="T3"/>
                </a:cxn>
                <a:cxn ang="0">
                  <a:pos x="T4" y="T5"/>
                </a:cxn>
                <a:cxn ang="0">
                  <a:pos x="T6" y="T7"/>
                </a:cxn>
                <a:cxn ang="0">
                  <a:pos x="T8" y="T9"/>
                </a:cxn>
              </a:cxnLst>
              <a:rect l="0" t="0" r="r" b="b"/>
              <a:pathLst>
                <a:path w="104" h="104">
                  <a:moveTo>
                    <a:pt x="104" y="104"/>
                  </a:moveTo>
                  <a:cubicBezTo>
                    <a:pt x="69" y="104"/>
                    <a:pt x="35" y="104"/>
                    <a:pt x="0" y="104"/>
                  </a:cubicBezTo>
                  <a:cubicBezTo>
                    <a:pt x="0" y="69"/>
                    <a:pt x="0" y="35"/>
                    <a:pt x="0" y="0"/>
                  </a:cubicBezTo>
                  <a:cubicBezTo>
                    <a:pt x="34" y="0"/>
                    <a:pt x="68" y="0"/>
                    <a:pt x="104" y="0"/>
                  </a:cubicBezTo>
                  <a:cubicBezTo>
                    <a:pt x="104" y="33"/>
                    <a:pt x="104" y="68"/>
                    <a:pt x="104"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6" name="Freeform 17">
              <a:extLst>
                <a:ext uri="{FF2B5EF4-FFF2-40B4-BE49-F238E27FC236}">
                  <a16:creationId xmlns:a16="http://schemas.microsoft.com/office/drawing/2014/main" id="{47D95850-A495-4FF2-84DF-3042A51458A5}"/>
                </a:ext>
              </a:extLst>
            </p:cNvPr>
            <p:cNvSpPr>
              <a:spLocks/>
            </p:cNvSpPr>
            <p:nvPr/>
          </p:nvSpPr>
          <p:spPr bwMode="auto">
            <a:xfrm>
              <a:off x="16016288" y="1231900"/>
              <a:ext cx="225425" cy="222250"/>
            </a:xfrm>
            <a:custGeom>
              <a:avLst/>
              <a:gdLst>
                <a:gd name="T0" fmla="*/ 104 w 104"/>
                <a:gd name="T1" fmla="*/ 103 h 103"/>
                <a:gd name="T2" fmla="*/ 0 w 104"/>
                <a:gd name="T3" fmla="*/ 103 h 103"/>
                <a:gd name="T4" fmla="*/ 0 w 104"/>
                <a:gd name="T5" fmla="*/ 0 h 103"/>
                <a:gd name="T6" fmla="*/ 104 w 104"/>
                <a:gd name="T7" fmla="*/ 0 h 103"/>
                <a:gd name="T8" fmla="*/ 104 w 104"/>
                <a:gd name="T9" fmla="*/ 103 h 103"/>
              </a:gdLst>
              <a:ahLst/>
              <a:cxnLst>
                <a:cxn ang="0">
                  <a:pos x="T0" y="T1"/>
                </a:cxn>
                <a:cxn ang="0">
                  <a:pos x="T2" y="T3"/>
                </a:cxn>
                <a:cxn ang="0">
                  <a:pos x="T4" y="T5"/>
                </a:cxn>
                <a:cxn ang="0">
                  <a:pos x="T6" y="T7"/>
                </a:cxn>
                <a:cxn ang="0">
                  <a:pos x="T8" y="T9"/>
                </a:cxn>
              </a:cxnLst>
              <a:rect l="0" t="0" r="r" b="b"/>
              <a:pathLst>
                <a:path w="104" h="103">
                  <a:moveTo>
                    <a:pt x="104" y="103"/>
                  </a:moveTo>
                  <a:cubicBezTo>
                    <a:pt x="69" y="103"/>
                    <a:pt x="35" y="103"/>
                    <a:pt x="0" y="103"/>
                  </a:cubicBezTo>
                  <a:cubicBezTo>
                    <a:pt x="0" y="69"/>
                    <a:pt x="0" y="36"/>
                    <a:pt x="0" y="0"/>
                  </a:cubicBezTo>
                  <a:cubicBezTo>
                    <a:pt x="34" y="0"/>
                    <a:pt x="69" y="0"/>
                    <a:pt x="104" y="0"/>
                  </a:cubicBezTo>
                  <a:cubicBezTo>
                    <a:pt x="104" y="35"/>
                    <a:pt x="104" y="68"/>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7" name="Freeform 18">
              <a:extLst>
                <a:ext uri="{FF2B5EF4-FFF2-40B4-BE49-F238E27FC236}">
                  <a16:creationId xmlns:a16="http://schemas.microsoft.com/office/drawing/2014/main" id="{9589AF5A-316E-4A93-9748-4E4A40CD7C80}"/>
                </a:ext>
              </a:extLst>
            </p:cNvPr>
            <p:cNvSpPr>
              <a:spLocks/>
            </p:cNvSpPr>
            <p:nvPr/>
          </p:nvSpPr>
          <p:spPr bwMode="auto">
            <a:xfrm>
              <a:off x="14506576" y="1860550"/>
              <a:ext cx="227013" cy="222250"/>
            </a:xfrm>
            <a:custGeom>
              <a:avLst/>
              <a:gdLst>
                <a:gd name="T0" fmla="*/ 0 w 105"/>
                <a:gd name="T1" fmla="*/ 0 h 103"/>
                <a:gd name="T2" fmla="*/ 105 w 105"/>
                <a:gd name="T3" fmla="*/ 0 h 103"/>
                <a:gd name="T4" fmla="*/ 105 w 105"/>
                <a:gd name="T5" fmla="*/ 103 h 103"/>
                <a:gd name="T6" fmla="*/ 0 w 105"/>
                <a:gd name="T7" fmla="*/ 103 h 103"/>
                <a:gd name="T8" fmla="*/ 0 w 105"/>
                <a:gd name="T9" fmla="*/ 0 h 103"/>
              </a:gdLst>
              <a:ahLst/>
              <a:cxnLst>
                <a:cxn ang="0">
                  <a:pos x="T0" y="T1"/>
                </a:cxn>
                <a:cxn ang="0">
                  <a:pos x="T2" y="T3"/>
                </a:cxn>
                <a:cxn ang="0">
                  <a:pos x="T4" y="T5"/>
                </a:cxn>
                <a:cxn ang="0">
                  <a:pos x="T6" y="T7"/>
                </a:cxn>
                <a:cxn ang="0">
                  <a:pos x="T8" y="T9"/>
                </a:cxn>
              </a:cxnLst>
              <a:rect l="0" t="0" r="r" b="b"/>
              <a:pathLst>
                <a:path w="105" h="103">
                  <a:moveTo>
                    <a:pt x="0" y="0"/>
                  </a:moveTo>
                  <a:cubicBezTo>
                    <a:pt x="37" y="0"/>
                    <a:pt x="70" y="0"/>
                    <a:pt x="105" y="0"/>
                  </a:cubicBezTo>
                  <a:cubicBezTo>
                    <a:pt x="105" y="35"/>
                    <a:pt x="105" y="68"/>
                    <a:pt x="105" y="103"/>
                  </a:cubicBezTo>
                  <a:cubicBezTo>
                    <a:pt x="70" y="103"/>
                    <a:pt x="36" y="103"/>
                    <a:pt x="0" y="103"/>
                  </a:cubicBezTo>
                  <a:cubicBezTo>
                    <a:pt x="0" y="68"/>
                    <a:pt x="0" y="3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8" name="Freeform 19">
              <a:extLst>
                <a:ext uri="{FF2B5EF4-FFF2-40B4-BE49-F238E27FC236}">
                  <a16:creationId xmlns:a16="http://schemas.microsoft.com/office/drawing/2014/main" id="{8EDFF607-33DC-4E03-AE74-0DC45E0F0D23}"/>
                </a:ext>
              </a:extLst>
            </p:cNvPr>
            <p:cNvSpPr>
              <a:spLocks/>
            </p:cNvSpPr>
            <p:nvPr/>
          </p:nvSpPr>
          <p:spPr bwMode="auto">
            <a:xfrm>
              <a:off x="13935076" y="3262313"/>
              <a:ext cx="220663" cy="225425"/>
            </a:xfrm>
            <a:custGeom>
              <a:avLst/>
              <a:gdLst>
                <a:gd name="T0" fmla="*/ 0 w 102"/>
                <a:gd name="T1" fmla="*/ 0 h 105"/>
                <a:gd name="T2" fmla="*/ 102 w 102"/>
                <a:gd name="T3" fmla="*/ 0 h 105"/>
                <a:gd name="T4" fmla="*/ 102 w 102"/>
                <a:gd name="T5" fmla="*/ 105 h 105"/>
                <a:gd name="T6" fmla="*/ 0 w 102"/>
                <a:gd name="T7" fmla="*/ 105 h 105"/>
                <a:gd name="T8" fmla="*/ 0 w 102"/>
                <a:gd name="T9" fmla="*/ 0 h 105"/>
              </a:gdLst>
              <a:ahLst/>
              <a:cxnLst>
                <a:cxn ang="0">
                  <a:pos x="T0" y="T1"/>
                </a:cxn>
                <a:cxn ang="0">
                  <a:pos x="T2" y="T3"/>
                </a:cxn>
                <a:cxn ang="0">
                  <a:pos x="T4" y="T5"/>
                </a:cxn>
                <a:cxn ang="0">
                  <a:pos x="T6" y="T7"/>
                </a:cxn>
                <a:cxn ang="0">
                  <a:pos x="T8" y="T9"/>
                </a:cxn>
              </a:cxnLst>
              <a:rect l="0" t="0" r="r" b="b"/>
              <a:pathLst>
                <a:path w="102" h="105">
                  <a:moveTo>
                    <a:pt x="0" y="0"/>
                  </a:moveTo>
                  <a:cubicBezTo>
                    <a:pt x="35" y="0"/>
                    <a:pt x="68" y="0"/>
                    <a:pt x="102" y="0"/>
                  </a:cubicBezTo>
                  <a:cubicBezTo>
                    <a:pt x="102" y="35"/>
                    <a:pt x="102" y="69"/>
                    <a:pt x="102" y="105"/>
                  </a:cubicBezTo>
                  <a:cubicBezTo>
                    <a:pt x="68" y="105"/>
                    <a:pt x="34" y="105"/>
                    <a:pt x="0" y="105"/>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59" name="Freeform 20">
              <a:extLst>
                <a:ext uri="{FF2B5EF4-FFF2-40B4-BE49-F238E27FC236}">
                  <a16:creationId xmlns:a16="http://schemas.microsoft.com/office/drawing/2014/main" id="{8188293D-DC59-4FF6-B885-0B5ED43F3F02}"/>
                </a:ext>
              </a:extLst>
            </p:cNvPr>
            <p:cNvSpPr>
              <a:spLocks/>
            </p:cNvSpPr>
            <p:nvPr/>
          </p:nvSpPr>
          <p:spPr bwMode="auto">
            <a:xfrm>
              <a:off x="14508163" y="4675188"/>
              <a:ext cx="225425" cy="222250"/>
            </a:xfrm>
            <a:custGeom>
              <a:avLst/>
              <a:gdLst>
                <a:gd name="T0" fmla="*/ 0 w 104"/>
                <a:gd name="T1" fmla="*/ 0 h 103"/>
                <a:gd name="T2" fmla="*/ 104 w 104"/>
                <a:gd name="T3" fmla="*/ 0 h 103"/>
                <a:gd name="T4" fmla="*/ 104 w 104"/>
                <a:gd name="T5" fmla="*/ 103 h 103"/>
                <a:gd name="T6" fmla="*/ 0 w 104"/>
                <a:gd name="T7" fmla="*/ 103 h 103"/>
                <a:gd name="T8" fmla="*/ 0 w 104"/>
                <a:gd name="T9" fmla="*/ 0 h 103"/>
              </a:gdLst>
              <a:ahLst/>
              <a:cxnLst>
                <a:cxn ang="0">
                  <a:pos x="T0" y="T1"/>
                </a:cxn>
                <a:cxn ang="0">
                  <a:pos x="T2" y="T3"/>
                </a:cxn>
                <a:cxn ang="0">
                  <a:pos x="T4" y="T5"/>
                </a:cxn>
                <a:cxn ang="0">
                  <a:pos x="T6" y="T7"/>
                </a:cxn>
                <a:cxn ang="0">
                  <a:pos x="T8" y="T9"/>
                </a:cxn>
              </a:cxnLst>
              <a:rect l="0" t="0" r="r" b="b"/>
              <a:pathLst>
                <a:path w="104" h="103">
                  <a:moveTo>
                    <a:pt x="0" y="0"/>
                  </a:moveTo>
                  <a:cubicBezTo>
                    <a:pt x="35" y="0"/>
                    <a:pt x="68" y="0"/>
                    <a:pt x="104" y="0"/>
                  </a:cubicBezTo>
                  <a:cubicBezTo>
                    <a:pt x="104" y="34"/>
                    <a:pt x="104" y="68"/>
                    <a:pt x="104" y="103"/>
                  </a:cubicBezTo>
                  <a:cubicBezTo>
                    <a:pt x="70" y="103"/>
                    <a:pt x="36" y="103"/>
                    <a:pt x="0" y="103"/>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60" name="Freeform 21">
              <a:extLst>
                <a:ext uri="{FF2B5EF4-FFF2-40B4-BE49-F238E27FC236}">
                  <a16:creationId xmlns:a16="http://schemas.microsoft.com/office/drawing/2014/main" id="{06C63691-EC98-4275-BEDF-A98A84D0F249}"/>
                </a:ext>
              </a:extLst>
            </p:cNvPr>
            <p:cNvSpPr>
              <a:spLocks/>
            </p:cNvSpPr>
            <p:nvPr/>
          </p:nvSpPr>
          <p:spPr bwMode="auto">
            <a:xfrm>
              <a:off x="17460913" y="1860550"/>
              <a:ext cx="222250" cy="222250"/>
            </a:xfrm>
            <a:custGeom>
              <a:avLst/>
              <a:gdLst>
                <a:gd name="T0" fmla="*/ 0 w 103"/>
                <a:gd name="T1" fmla="*/ 0 h 103"/>
                <a:gd name="T2" fmla="*/ 103 w 103"/>
                <a:gd name="T3" fmla="*/ 0 h 103"/>
                <a:gd name="T4" fmla="*/ 103 w 103"/>
                <a:gd name="T5" fmla="*/ 103 h 103"/>
                <a:gd name="T6" fmla="*/ 0 w 103"/>
                <a:gd name="T7" fmla="*/ 103 h 103"/>
                <a:gd name="T8" fmla="*/ 0 w 103"/>
                <a:gd name="T9" fmla="*/ 0 h 103"/>
              </a:gdLst>
              <a:ahLst/>
              <a:cxnLst>
                <a:cxn ang="0">
                  <a:pos x="T0" y="T1"/>
                </a:cxn>
                <a:cxn ang="0">
                  <a:pos x="T2" y="T3"/>
                </a:cxn>
                <a:cxn ang="0">
                  <a:pos x="T4" y="T5"/>
                </a:cxn>
                <a:cxn ang="0">
                  <a:pos x="T6" y="T7"/>
                </a:cxn>
                <a:cxn ang="0">
                  <a:pos x="T8" y="T9"/>
                </a:cxn>
              </a:cxnLst>
              <a:rect l="0" t="0" r="r" b="b"/>
              <a:pathLst>
                <a:path w="103" h="103">
                  <a:moveTo>
                    <a:pt x="0" y="0"/>
                  </a:moveTo>
                  <a:cubicBezTo>
                    <a:pt x="35" y="0"/>
                    <a:pt x="68" y="0"/>
                    <a:pt x="103" y="0"/>
                  </a:cubicBezTo>
                  <a:cubicBezTo>
                    <a:pt x="103" y="34"/>
                    <a:pt x="103" y="68"/>
                    <a:pt x="103" y="103"/>
                  </a:cubicBezTo>
                  <a:cubicBezTo>
                    <a:pt x="69" y="103"/>
                    <a:pt x="35" y="103"/>
                    <a:pt x="0" y="103"/>
                  </a:cubicBezTo>
                  <a:cubicBezTo>
                    <a:pt x="0" y="69"/>
                    <a:pt x="0" y="3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sp>
          <p:nvSpPr>
            <p:cNvPr id="161" name="Freeform 22">
              <a:extLst>
                <a:ext uri="{FF2B5EF4-FFF2-40B4-BE49-F238E27FC236}">
                  <a16:creationId xmlns:a16="http://schemas.microsoft.com/office/drawing/2014/main" id="{AF6A991F-DFF6-4FF1-B30B-82E0A96F1632}"/>
                </a:ext>
              </a:extLst>
            </p:cNvPr>
            <p:cNvSpPr>
              <a:spLocks/>
            </p:cNvSpPr>
            <p:nvPr/>
          </p:nvSpPr>
          <p:spPr bwMode="auto">
            <a:xfrm>
              <a:off x="17462501" y="4678363"/>
              <a:ext cx="220663" cy="222250"/>
            </a:xfrm>
            <a:custGeom>
              <a:avLst/>
              <a:gdLst>
                <a:gd name="T0" fmla="*/ 102 w 102"/>
                <a:gd name="T1" fmla="*/ 103 h 103"/>
                <a:gd name="T2" fmla="*/ 0 w 102"/>
                <a:gd name="T3" fmla="*/ 103 h 103"/>
                <a:gd name="T4" fmla="*/ 0 w 102"/>
                <a:gd name="T5" fmla="*/ 0 h 103"/>
                <a:gd name="T6" fmla="*/ 102 w 102"/>
                <a:gd name="T7" fmla="*/ 0 h 103"/>
                <a:gd name="T8" fmla="*/ 102 w 102"/>
                <a:gd name="T9" fmla="*/ 103 h 103"/>
              </a:gdLst>
              <a:ahLst/>
              <a:cxnLst>
                <a:cxn ang="0">
                  <a:pos x="T0" y="T1"/>
                </a:cxn>
                <a:cxn ang="0">
                  <a:pos x="T2" y="T3"/>
                </a:cxn>
                <a:cxn ang="0">
                  <a:pos x="T4" y="T5"/>
                </a:cxn>
                <a:cxn ang="0">
                  <a:pos x="T6" y="T7"/>
                </a:cxn>
                <a:cxn ang="0">
                  <a:pos x="T8" y="T9"/>
                </a:cxn>
              </a:cxnLst>
              <a:rect l="0" t="0" r="r" b="b"/>
              <a:pathLst>
                <a:path w="102" h="103">
                  <a:moveTo>
                    <a:pt x="102" y="103"/>
                  </a:moveTo>
                  <a:cubicBezTo>
                    <a:pt x="67" y="103"/>
                    <a:pt x="34" y="103"/>
                    <a:pt x="0" y="103"/>
                  </a:cubicBezTo>
                  <a:cubicBezTo>
                    <a:pt x="0" y="69"/>
                    <a:pt x="0" y="35"/>
                    <a:pt x="0" y="0"/>
                  </a:cubicBezTo>
                  <a:cubicBezTo>
                    <a:pt x="33" y="0"/>
                    <a:pt x="67" y="0"/>
                    <a:pt x="102" y="0"/>
                  </a:cubicBezTo>
                  <a:cubicBezTo>
                    <a:pt x="102" y="34"/>
                    <a:pt x="102" y="67"/>
                    <a:pt x="102"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charset="0"/>
                <a:ea typeface="+mn-ea"/>
                <a:cs typeface="Arial" charset="0"/>
              </a:endParaRPr>
            </a:p>
          </p:txBody>
        </p:sp>
      </p:grpSp>
    </p:spTree>
    <p:extLst>
      <p:ext uri="{BB962C8B-B14F-4D97-AF65-F5344CB8AC3E}">
        <p14:creationId xmlns:p14="http://schemas.microsoft.com/office/powerpoint/2010/main" val="7450509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1AEF6A5-A15C-4947-AD35-807CFCA3E699}"/>
              </a:ext>
            </a:extLst>
          </p:cNvPr>
          <p:cNvSpPr txBox="1"/>
          <p:nvPr/>
        </p:nvSpPr>
        <p:spPr>
          <a:xfrm>
            <a:off x="2822575" y="2494076"/>
            <a:ext cx="9079992" cy="813364"/>
          </a:xfrm>
          <a:prstGeom prst="rect">
            <a:avLst/>
          </a:prstGeom>
          <a:noFill/>
        </p:spPr>
        <p:txBody>
          <a:bodyPr wrap="square" lIns="0" tIns="0" rIns="0" bIns="0" rtlCol="0">
            <a:spAutoFit/>
          </a:bodyPr>
          <a:lstStyle/>
          <a:p>
            <a:pPr marL="173922" lvl="1" indent="-173922">
              <a:lnSpc>
                <a:spcPct val="117000"/>
              </a:lnSpc>
              <a:spcAft>
                <a:spcPts val="300"/>
              </a:spcAft>
              <a:buClr>
                <a:srgbClr val="005A8C"/>
              </a:buClr>
              <a:buSzPct val="70000"/>
              <a:buFont typeface="Wingdings" pitchFamily="2" charset="2"/>
              <a:buChar char="l"/>
              <a:defRPr/>
            </a:pPr>
            <a:r>
              <a:rPr lang="en-US" sz="1100" dirty="0">
                <a:solidFill>
                  <a:srgbClr val="3F3F3F"/>
                </a:solidFill>
                <a:latin typeface="Arial"/>
              </a:rPr>
              <a:t>Enterprises need to assess the possibility and degree of offshoring engineering workstreams based on certain decision criteria, such as nature of work, strategic considerations, cost, capability considerations, and legal and regulatory risk </a:t>
            </a:r>
          </a:p>
          <a:p>
            <a:pPr marL="173922" lvl="1" indent="-173922">
              <a:lnSpc>
                <a:spcPct val="117000"/>
              </a:lnSpc>
              <a:spcAft>
                <a:spcPts val="300"/>
              </a:spcAft>
              <a:buClr>
                <a:srgbClr val="005A8C"/>
              </a:buClr>
              <a:buSzPct val="70000"/>
              <a:buFont typeface="Wingdings" pitchFamily="2" charset="2"/>
              <a:buChar char="l"/>
              <a:defRPr/>
            </a:pPr>
            <a:r>
              <a:rPr lang="en-US" sz="1100" dirty="0"/>
              <a:t>Engineering service providers offer scale on-demand and lower costs, but are not suited for situations requiring enhanced integration and control</a:t>
            </a:r>
            <a:endParaRPr lang="en-US" sz="1100" dirty="0">
              <a:solidFill>
                <a:srgbClr val="3F3F3F"/>
              </a:solidFill>
              <a:latin typeface="Arial"/>
            </a:endParaRPr>
          </a:p>
        </p:txBody>
      </p:sp>
      <p:sp>
        <p:nvSpPr>
          <p:cNvPr id="16" name="Rectangle 4">
            <a:extLst>
              <a:ext uri="{FF2B5EF4-FFF2-40B4-BE49-F238E27FC236}">
                <a16:creationId xmlns:a16="http://schemas.microsoft.com/office/drawing/2014/main" id="{F2596971-D400-4913-B728-18122866CEE2}"/>
              </a:ext>
            </a:extLst>
          </p:cNvPr>
          <p:cNvSpPr>
            <a:spLocks noChangeArrowheads="1"/>
          </p:cNvSpPr>
          <p:nvPr/>
        </p:nvSpPr>
        <p:spPr bwMode="gray">
          <a:xfrm>
            <a:off x="310896" y="2150277"/>
            <a:ext cx="3635611" cy="169405"/>
          </a:xfrm>
          <a:prstGeom prst="rect">
            <a:avLst/>
          </a:prstGeom>
          <a:noFill/>
          <a:ln w="9525">
            <a:noFill/>
            <a:miter lim="800000"/>
            <a:headEnd/>
            <a:tailEnd/>
          </a:ln>
        </p:spPr>
        <p:txBody>
          <a:bodyPr wrap="none" lIns="0" tIns="0" rIns="0" bIns="0" anchor="b">
            <a:spAutoFit/>
          </a:bodyPr>
          <a:lstStyle/>
          <a:p>
            <a:pPr>
              <a:spcBef>
                <a:spcPts val="0"/>
              </a:spcBef>
              <a:spcAft>
                <a:spcPts val="0"/>
              </a:spcAft>
              <a:buClr>
                <a:srgbClr val="969696"/>
              </a:buClr>
              <a:buSzPct val="60000"/>
              <a:defRPr/>
            </a:pPr>
            <a:r>
              <a:rPr lang="en-US" sz="1101" b="1" dirty="0">
                <a:solidFill>
                  <a:srgbClr val="3F3F3F"/>
                </a:solidFill>
              </a:rPr>
              <a:t>Some of the findings in this report, among others, are:</a:t>
            </a:r>
          </a:p>
        </p:txBody>
      </p:sp>
      <p:sp>
        <p:nvSpPr>
          <p:cNvPr id="7" name="TextBox 6">
            <a:extLst>
              <a:ext uri="{FF2B5EF4-FFF2-40B4-BE49-F238E27FC236}">
                <a16:creationId xmlns:a16="http://schemas.microsoft.com/office/drawing/2014/main" id="{4C51769B-1A75-4312-B44F-AD99D27B944F}"/>
              </a:ext>
            </a:extLst>
          </p:cNvPr>
          <p:cNvSpPr txBox="1"/>
          <p:nvPr/>
        </p:nvSpPr>
        <p:spPr>
          <a:xfrm>
            <a:off x="2822575" y="3428203"/>
            <a:ext cx="9079992" cy="180690"/>
          </a:xfrm>
          <a:prstGeom prst="rect">
            <a:avLst/>
          </a:prstGeom>
          <a:noFill/>
        </p:spPr>
        <p:txBody>
          <a:bodyPr wrap="square" lIns="0" tIns="0" rIns="0" bIns="0" rtlCol="0">
            <a:spAutoFit/>
          </a:bodyPr>
          <a:lstStyle/>
          <a:p>
            <a:pPr marL="173922" lvl="1" indent="-173922">
              <a:lnSpc>
                <a:spcPct val="117000"/>
              </a:lnSpc>
              <a:spcAft>
                <a:spcPts val="300"/>
              </a:spcAft>
              <a:buClr>
                <a:srgbClr val="005A8C"/>
              </a:buClr>
              <a:buSzPct val="70000"/>
              <a:buFont typeface="Wingdings" pitchFamily="2" charset="2"/>
              <a:buChar char="l"/>
              <a:defRPr/>
            </a:pPr>
            <a:r>
              <a:rPr lang="en-US" sz="1100" dirty="0"/>
              <a:t>Enterprises need to carefully design their delivery location and portfolio in order to align with delivery expectations and future objectives</a:t>
            </a:r>
            <a:endParaRPr lang="en-US" sz="1100" dirty="0">
              <a:solidFill>
                <a:srgbClr val="3F3F3F"/>
              </a:solidFill>
              <a:latin typeface="Arial"/>
            </a:endParaRPr>
          </a:p>
        </p:txBody>
      </p:sp>
      <p:cxnSp>
        <p:nvCxnSpPr>
          <p:cNvPr id="10" name="Straight Connector 9">
            <a:extLst>
              <a:ext uri="{FF2B5EF4-FFF2-40B4-BE49-F238E27FC236}">
                <a16:creationId xmlns:a16="http://schemas.microsoft.com/office/drawing/2014/main" id="{D371B6AD-631D-4012-A5EE-CC99860A5C02}"/>
              </a:ext>
            </a:extLst>
          </p:cNvPr>
          <p:cNvCxnSpPr/>
          <p:nvPr/>
        </p:nvCxnSpPr>
        <p:spPr bwMode="auto">
          <a:xfrm>
            <a:off x="307975" y="3356268"/>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0" name="KMA1D1FEAF">
            <a:extLst>
              <a:ext uri="{FF2B5EF4-FFF2-40B4-BE49-F238E27FC236}">
                <a16:creationId xmlns:a16="http://schemas.microsoft.com/office/drawing/2014/main" id="{7E60A716-5263-40D7-A37B-54040E4316B3}"/>
              </a:ext>
            </a:extLst>
          </p:cNvPr>
          <p:cNvSpPr>
            <a:spLocks noChangeArrowheads="1"/>
          </p:cNvSpPr>
          <p:nvPr>
            <p:custDataLst>
              <p:tags r:id="rId1"/>
            </p:custDataLst>
          </p:nvPr>
        </p:nvSpPr>
        <p:spPr bwMode="gray">
          <a:xfrm>
            <a:off x="-1" y="3358519"/>
            <a:ext cx="2423886" cy="485506"/>
          </a:xfrm>
          <a:prstGeom prst="homePlate">
            <a:avLst>
              <a:gd name="adj" fmla="val 4308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dirty="0">
                <a:solidFill>
                  <a:schemeClr val="bg1"/>
                </a:solidFill>
                <a:latin typeface="Arial"/>
              </a:rPr>
              <a:t>Delivery models</a:t>
            </a:r>
          </a:p>
        </p:txBody>
      </p:sp>
      <p:sp>
        <p:nvSpPr>
          <p:cNvPr id="8" name="TextBox 7">
            <a:extLst>
              <a:ext uri="{FF2B5EF4-FFF2-40B4-BE49-F238E27FC236}">
                <a16:creationId xmlns:a16="http://schemas.microsoft.com/office/drawing/2014/main" id="{6E5D878F-44F1-45FD-9C5D-FA05DCBDF0CF}"/>
              </a:ext>
            </a:extLst>
          </p:cNvPr>
          <p:cNvSpPr txBox="1"/>
          <p:nvPr/>
        </p:nvSpPr>
        <p:spPr>
          <a:xfrm>
            <a:off x="2822575" y="4209507"/>
            <a:ext cx="9079992" cy="615297"/>
          </a:xfrm>
          <a:prstGeom prst="rect">
            <a:avLst/>
          </a:prstGeom>
          <a:noFill/>
        </p:spPr>
        <p:txBody>
          <a:bodyPr wrap="square" lIns="0" tIns="0" rIns="0" bIns="0" rtlCol="0">
            <a:spAutoFit/>
          </a:bodyPr>
          <a:lstStyle/>
          <a:p>
            <a:pPr marL="173922" lvl="1" indent="-173922">
              <a:lnSpc>
                <a:spcPct val="117000"/>
              </a:lnSpc>
              <a:spcAft>
                <a:spcPts val="300"/>
              </a:spcAft>
              <a:buClr>
                <a:srgbClr val="005A8C"/>
              </a:buClr>
              <a:buSzPct val="70000"/>
              <a:buFont typeface="Wingdings" pitchFamily="2" charset="2"/>
              <a:buChar char="l"/>
              <a:defRPr/>
            </a:pPr>
            <a:r>
              <a:rPr lang="en-US" sz="1100" dirty="0"/>
              <a:t>Evolving engineering dynamics and the need to drive greater strategic leverage out of service providers call for more holistic selection considerations</a:t>
            </a:r>
          </a:p>
          <a:p>
            <a:pPr marL="173922" lvl="1" indent="-173922">
              <a:lnSpc>
                <a:spcPct val="117000"/>
              </a:lnSpc>
              <a:spcAft>
                <a:spcPts val="300"/>
              </a:spcAft>
              <a:buClr>
                <a:srgbClr val="005A8C"/>
              </a:buClr>
              <a:buSzPct val="70000"/>
              <a:buFont typeface="Wingdings" pitchFamily="2" charset="2"/>
              <a:buChar char="l"/>
              <a:defRPr/>
            </a:pPr>
            <a:r>
              <a:rPr lang="en-US" sz="1100" dirty="0">
                <a:solidFill>
                  <a:srgbClr val="3F3F3F"/>
                </a:solidFill>
                <a:latin typeface="Arial"/>
              </a:rPr>
              <a:t>Apart from </a:t>
            </a:r>
            <a:r>
              <a:rPr lang="en-US" sz="1100" dirty="0"/>
              <a:t>scale-based tiering, it is also crucial to categorize vendors based on the role they play for the enterprise</a:t>
            </a:r>
            <a:endParaRPr lang="en-US" sz="1100" dirty="0">
              <a:solidFill>
                <a:srgbClr val="3F3F3F"/>
              </a:solidFill>
              <a:latin typeface="Arial"/>
            </a:endParaRPr>
          </a:p>
        </p:txBody>
      </p:sp>
      <p:cxnSp>
        <p:nvCxnSpPr>
          <p:cNvPr id="11" name="Straight Connector 10">
            <a:extLst>
              <a:ext uri="{FF2B5EF4-FFF2-40B4-BE49-F238E27FC236}">
                <a16:creationId xmlns:a16="http://schemas.microsoft.com/office/drawing/2014/main" id="{9E2458B0-F349-499D-AAA2-28025EF1BC63}"/>
              </a:ext>
            </a:extLst>
          </p:cNvPr>
          <p:cNvCxnSpPr/>
          <p:nvPr/>
        </p:nvCxnSpPr>
        <p:spPr bwMode="auto">
          <a:xfrm>
            <a:off x="292606" y="4131206"/>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1" name="KMA1D1FEAF">
            <a:extLst>
              <a:ext uri="{FF2B5EF4-FFF2-40B4-BE49-F238E27FC236}">
                <a16:creationId xmlns:a16="http://schemas.microsoft.com/office/drawing/2014/main" id="{170AADAA-B247-4BC4-B3B0-E0510863B815}"/>
              </a:ext>
            </a:extLst>
          </p:cNvPr>
          <p:cNvSpPr>
            <a:spLocks noChangeArrowheads="1"/>
          </p:cNvSpPr>
          <p:nvPr>
            <p:custDataLst>
              <p:tags r:id="rId2"/>
            </p:custDataLst>
          </p:nvPr>
        </p:nvSpPr>
        <p:spPr bwMode="gray">
          <a:xfrm>
            <a:off x="-1" y="4135332"/>
            <a:ext cx="2423886" cy="485506"/>
          </a:xfrm>
          <a:prstGeom prst="homePlate">
            <a:avLst>
              <a:gd name="adj" fmla="val 4607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dirty="0">
                <a:solidFill>
                  <a:schemeClr val="bg1"/>
                </a:solidFill>
                <a:latin typeface="Arial"/>
              </a:rPr>
              <a:t>Vendor tiering</a:t>
            </a:r>
          </a:p>
        </p:txBody>
      </p:sp>
      <p:sp>
        <p:nvSpPr>
          <p:cNvPr id="9" name="TextBox 8">
            <a:extLst>
              <a:ext uri="{FF2B5EF4-FFF2-40B4-BE49-F238E27FC236}">
                <a16:creationId xmlns:a16="http://schemas.microsoft.com/office/drawing/2014/main" id="{9DFF69AF-3FF5-4892-910C-A6AB04917686}"/>
              </a:ext>
            </a:extLst>
          </p:cNvPr>
          <p:cNvSpPr txBox="1"/>
          <p:nvPr/>
        </p:nvSpPr>
        <p:spPr>
          <a:xfrm>
            <a:off x="2822575" y="5034531"/>
            <a:ext cx="9079992" cy="615297"/>
          </a:xfrm>
          <a:prstGeom prst="rect">
            <a:avLst/>
          </a:prstGeom>
          <a:noFill/>
        </p:spPr>
        <p:txBody>
          <a:bodyPr wrap="square" lIns="0" tIns="0" rIns="0" bIns="0" rtlCol="0">
            <a:spAutoFit/>
          </a:bodyPr>
          <a:lstStyle/>
          <a:p>
            <a:pPr marL="173922" lvl="1" indent="-173922">
              <a:lnSpc>
                <a:spcPct val="117000"/>
              </a:lnSpc>
              <a:spcAft>
                <a:spcPts val="300"/>
              </a:spcAft>
              <a:buClr>
                <a:srgbClr val="005A8C"/>
              </a:buClr>
              <a:buSzPct val="70000"/>
              <a:buFont typeface="Wingdings" pitchFamily="2" charset="2"/>
              <a:buChar char="l"/>
              <a:defRPr/>
            </a:pPr>
            <a:r>
              <a:rPr lang="en-US" sz="1100" dirty="0"/>
              <a:t>For an enterprise to realize the maximum benefit out of its various engagement models, it is imperative to align them with the most suitable pricing models</a:t>
            </a:r>
          </a:p>
          <a:p>
            <a:pPr marL="173922" lvl="1" indent="-173922">
              <a:lnSpc>
                <a:spcPct val="117000"/>
              </a:lnSpc>
              <a:spcAft>
                <a:spcPts val="300"/>
              </a:spcAft>
              <a:buClr>
                <a:srgbClr val="005A8C"/>
              </a:buClr>
              <a:buSzPct val="70000"/>
              <a:buFont typeface="Wingdings" pitchFamily="2" charset="2"/>
              <a:buChar char="l"/>
              <a:defRPr/>
            </a:pPr>
            <a:r>
              <a:rPr lang="en-US" sz="1100" dirty="0"/>
              <a:t>The suitability of different engagement models varies based on the lifecycle stage of the product</a:t>
            </a:r>
          </a:p>
        </p:txBody>
      </p:sp>
      <p:cxnSp>
        <p:nvCxnSpPr>
          <p:cNvPr id="12" name="Straight Connector 11">
            <a:extLst>
              <a:ext uri="{FF2B5EF4-FFF2-40B4-BE49-F238E27FC236}">
                <a16:creationId xmlns:a16="http://schemas.microsoft.com/office/drawing/2014/main" id="{4694C394-1DEB-4D2A-ADF2-0A291DDFF93F}"/>
              </a:ext>
            </a:extLst>
          </p:cNvPr>
          <p:cNvCxnSpPr/>
          <p:nvPr/>
        </p:nvCxnSpPr>
        <p:spPr bwMode="auto">
          <a:xfrm>
            <a:off x="292606" y="4984238"/>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2" name="KMA1D1FEAF">
            <a:extLst>
              <a:ext uri="{FF2B5EF4-FFF2-40B4-BE49-F238E27FC236}">
                <a16:creationId xmlns:a16="http://schemas.microsoft.com/office/drawing/2014/main" id="{20DEA367-B737-46A0-B9AE-B017D51A0E11}"/>
              </a:ext>
            </a:extLst>
          </p:cNvPr>
          <p:cNvSpPr>
            <a:spLocks noChangeArrowheads="1"/>
          </p:cNvSpPr>
          <p:nvPr>
            <p:custDataLst>
              <p:tags r:id="rId3"/>
            </p:custDataLst>
          </p:nvPr>
        </p:nvSpPr>
        <p:spPr bwMode="gray">
          <a:xfrm>
            <a:off x="-1" y="4986960"/>
            <a:ext cx="2423886" cy="485506"/>
          </a:xfrm>
          <a:prstGeom prst="homePlate">
            <a:avLst>
              <a:gd name="adj" fmla="val 45324"/>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dirty="0">
                <a:solidFill>
                  <a:schemeClr val="bg1"/>
                </a:solidFill>
                <a:latin typeface="Arial"/>
              </a:rPr>
              <a:t>Engagement and pricing constructs</a:t>
            </a:r>
          </a:p>
        </p:txBody>
      </p:sp>
      <p:sp>
        <p:nvSpPr>
          <p:cNvPr id="26" name="object 3">
            <a:extLst>
              <a:ext uri="{FF2B5EF4-FFF2-40B4-BE49-F238E27FC236}">
                <a16:creationId xmlns:a16="http://schemas.microsoft.com/office/drawing/2014/main" id="{CA0451B7-610A-4DBE-ADD3-624003A3D608}"/>
              </a:ext>
            </a:extLst>
          </p:cNvPr>
          <p:cNvSpPr txBox="1"/>
          <p:nvPr/>
        </p:nvSpPr>
        <p:spPr>
          <a:xfrm>
            <a:off x="310896" y="1665758"/>
            <a:ext cx="11612880" cy="378758"/>
          </a:xfrm>
          <a:prstGeom prst="rect">
            <a:avLst/>
          </a:prstGeom>
        </p:spPr>
        <p:txBody>
          <a:bodyPr vert="horz" wrap="square" lIns="0" tIns="0" rIns="0" bIns="0" rtlCol="0">
            <a:spAutoFit/>
          </a:bodyPr>
          <a:lstStyle/>
          <a:p>
            <a:pPr>
              <a:lnSpc>
                <a:spcPct val="117000"/>
              </a:lnSpc>
              <a:spcBef>
                <a:spcPts val="0"/>
              </a:spcBef>
              <a:spcAft>
                <a:spcPts val="300"/>
              </a:spcAft>
              <a:buClr>
                <a:schemeClr val="accent2"/>
              </a:buClr>
              <a:buSzPct val="70000"/>
            </a:pPr>
            <a:r>
              <a:rPr lang="en-US" sz="1100" dirty="0"/>
              <a:t>The report lays out the engineering services landscape and discusses typical engineering outsourcing practices across topics such as outsourcing suitability factors, delivery models, vendor tiering practices, engagement and pricing constructs, and governance mechanisms. </a:t>
            </a:r>
          </a:p>
        </p:txBody>
      </p:sp>
      <p:cxnSp>
        <p:nvCxnSpPr>
          <p:cNvPr id="27" name="Straight Connector 26">
            <a:extLst>
              <a:ext uri="{FF2B5EF4-FFF2-40B4-BE49-F238E27FC236}">
                <a16:creationId xmlns:a16="http://schemas.microsoft.com/office/drawing/2014/main" id="{353FD80B-E42C-43D1-B323-E9AE1C6A077B}"/>
              </a:ext>
            </a:extLst>
          </p:cNvPr>
          <p:cNvCxnSpPr/>
          <p:nvPr/>
        </p:nvCxnSpPr>
        <p:spPr bwMode="auto">
          <a:xfrm>
            <a:off x="292606" y="2432078"/>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8" name="KMA1D1FEAF">
            <a:extLst>
              <a:ext uri="{FF2B5EF4-FFF2-40B4-BE49-F238E27FC236}">
                <a16:creationId xmlns:a16="http://schemas.microsoft.com/office/drawing/2014/main" id="{4D1FE240-2603-47A7-B2EE-9669C334CF77}"/>
              </a:ext>
            </a:extLst>
          </p:cNvPr>
          <p:cNvSpPr>
            <a:spLocks noChangeArrowheads="1"/>
          </p:cNvSpPr>
          <p:nvPr>
            <p:custDataLst>
              <p:tags r:id="rId4"/>
            </p:custDataLst>
          </p:nvPr>
        </p:nvSpPr>
        <p:spPr bwMode="gray">
          <a:xfrm>
            <a:off x="-1" y="2432078"/>
            <a:ext cx="2423886" cy="485506"/>
          </a:xfrm>
          <a:prstGeom prst="homePlate">
            <a:avLst>
              <a:gd name="adj" fmla="val 43455"/>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dirty="0">
                <a:solidFill>
                  <a:schemeClr val="bg1"/>
                </a:solidFill>
                <a:latin typeface="Arial"/>
              </a:rPr>
              <a:t>Outsourcing suitability</a:t>
            </a:r>
          </a:p>
        </p:txBody>
      </p:sp>
      <p:sp>
        <p:nvSpPr>
          <p:cNvPr id="2" name="Title 1">
            <a:extLst>
              <a:ext uri="{FF2B5EF4-FFF2-40B4-BE49-F238E27FC236}">
                <a16:creationId xmlns:a16="http://schemas.microsoft.com/office/drawing/2014/main" id="{17139ACC-19BA-4BE8-8726-201778DECC45}"/>
              </a:ext>
            </a:extLst>
          </p:cNvPr>
          <p:cNvSpPr>
            <a:spLocks noGrp="1"/>
          </p:cNvSpPr>
          <p:nvPr>
            <p:ph type="title"/>
          </p:nvPr>
        </p:nvSpPr>
        <p:spPr/>
        <p:txBody>
          <a:bodyPr/>
          <a:lstStyle/>
          <a:p>
            <a:r>
              <a:rPr lang="en-US" dirty="0"/>
              <a:t>Overview and abbreviated summary of key messages</a:t>
            </a:r>
            <a:endParaRPr lang="en-IN" dirty="0"/>
          </a:p>
        </p:txBody>
      </p:sp>
      <p:sp>
        <p:nvSpPr>
          <p:cNvPr id="18" name="TextBox 17">
            <a:extLst>
              <a:ext uri="{FF2B5EF4-FFF2-40B4-BE49-F238E27FC236}">
                <a16:creationId xmlns:a16="http://schemas.microsoft.com/office/drawing/2014/main" id="{D60E1DB2-6F2E-4290-9FF0-0E1164A5B78F}"/>
              </a:ext>
            </a:extLst>
          </p:cNvPr>
          <p:cNvSpPr txBox="1"/>
          <p:nvPr/>
        </p:nvSpPr>
        <p:spPr>
          <a:xfrm>
            <a:off x="2822575" y="5884853"/>
            <a:ext cx="9079992" cy="378758"/>
          </a:xfrm>
          <a:prstGeom prst="rect">
            <a:avLst/>
          </a:prstGeom>
          <a:noFill/>
        </p:spPr>
        <p:txBody>
          <a:bodyPr wrap="square" lIns="0" tIns="0" rIns="0" bIns="0" rtlCol="0">
            <a:spAutoFit/>
          </a:bodyPr>
          <a:lstStyle/>
          <a:p>
            <a:pPr marL="173922" lvl="1" indent="-173922">
              <a:lnSpc>
                <a:spcPct val="117000"/>
              </a:lnSpc>
              <a:spcAft>
                <a:spcPts val="300"/>
              </a:spcAft>
              <a:buClr>
                <a:srgbClr val="005A8C"/>
              </a:buClr>
              <a:buSzPct val="70000"/>
              <a:buFont typeface="Wingdings" pitchFamily="2" charset="2"/>
              <a:buChar char="l"/>
              <a:defRPr/>
            </a:pPr>
            <a:r>
              <a:rPr lang="en-US" sz="1100" dirty="0"/>
              <a:t>Enterprises should leverage various measures such as tracking performance metrics and including Service Level Agreements (SLAs) in the contracts to effectively monitor and manage the performance of their outsourcing partners</a:t>
            </a:r>
            <a:endParaRPr lang="en-US" sz="1100" dirty="0">
              <a:solidFill>
                <a:srgbClr val="3F3F3F"/>
              </a:solidFill>
              <a:latin typeface="Arial"/>
            </a:endParaRPr>
          </a:p>
        </p:txBody>
      </p:sp>
      <p:cxnSp>
        <p:nvCxnSpPr>
          <p:cNvPr id="29" name="Straight Connector 28">
            <a:extLst>
              <a:ext uri="{FF2B5EF4-FFF2-40B4-BE49-F238E27FC236}">
                <a16:creationId xmlns:a16="http://schemas.microsoft.com/office/drawing/2014/main" id="{848FBE0C-F4C0-43E1-BCE1-2FCFADBCB6B4}"/>
              </a:ext>
            </a:extLst>
          </p:cNvPr>
          <p:cNvCxnSpPr/>
          <p:nvPr/>
        </p:nvCxnSpPr>
        <p:spPr bwMode="auto">
          <a:xfrm>
            <a:off x="274675" y="5832325"/>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30" name="KMA1D1FEAF">
            <a:extLst>
              <a:ext uri="{FF2B5EF4-FFF2-40B4-BE49-F238E27FC236}">
                <a16:creationId xmlns:a16="http://schemas.microsoft.com/office/drawing/2014/main" id="{6D069DFC-80E6-41CC-93D7-40AFFE3DF209}"/>
              </a:ext>
            </a:extLst>
          </p:cNvPr>
          <p:cNvSpPr>
            <a:spLocks noChangeArrowheads="1"/>
          </p:cNvSpPr>
          <p:nvPr>
            <p:custDataLst>
              <p:tags r:id="rId5"/>
            </p:custDataLst>
          </p:nvPr>
        </p:nvSpPr>
        <p:spPr bwMode="gray">
          <a:xfrm>
            <a:off x="-1" y="5838588"/>
            <a:ext cx="2423886" cy="485506"/>
          </a:xfrm>
          <a:prstGeom prst="homePlate">
            <a:avLst>
              <a:gd name="adj" fmla="val 45324"/>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dirty="0">
                <a:solidFill>
                  <a:schemeClr val="bg1"/>
                </a:solidFill>
                <a:latin typeface="Arial"/>
              </a:rPr>
              <a:t>Governance mechanisms</a:t>
            </a:r>
          </a:p>
        </p:txBody>
      </p:sp>
    </p:spTree>
    <p:extLst>
      <p:ext uri="{BB962C8B-B14F-4D97-AF65-F5344CB8AC3E}">
        <p14:creationId xmlns:p14="http://schemas.microsoft.com/office/powerpoint/2010/main" val="2564010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7" name="Table 4">
            <a:extLst>
              <a:ext uri="{FF2B5EF4-FFF2-40B4-BE49-F238E27FC236}">
                <a16:creationId xmlns:a16="http://schemas.microsoft.com/office/drawing/2014/main" id="{62DE71CE-ED2F-46F4-A92F-1CA055775173}"/>
              </a:ext>
            </a:extLst>
          </p:cNvPr>
          <p:cNvGraphicFramePr>
            <a:graphicFrameLocks/>
          </p:cNvGraphicFramePr>
          <p:nvPr>
            <p:extLst>
              <p:ext uri="{D42A27DB-BD31-4B8C-83A1-F6EECF244321}">
                <p14:modId xmlns:p14="http://schemas.microsoft.com/office/powerpoint/2010/main" val="2678665035"/>
              </p:ext>
            </p:extLst>
          </p:nvPr>
        </p:nvGraphicFramePr>
        <p:xfrm>
          <a:off x="6099319" y="4523976"/>
          <a:ext cx="5604243" cy="1884680"/>
        </p:xfrm>
        <a:graphic>
          <a:graphicData uri="http://schemas.openxmlformats.org/drawingml/2006/table">
            <a:tbl>
              <a:tblPr firstRow="1" bandRow="1">
                <a:tableStyleId>{2D5ABB26-0587-4C30-8999-92F81FD0307C}</a:tableStyleId>
              </a:tblPr>
              <a:tblGrid>
                <a:gridCol w="116840">
                  <a:extLst>
                    <a:ext uri="{9D8B030D-6E8A-4147-A177-3AD203B41FA5}">
                      <a16:colId xmlns:a16="http://schemas.microsoft.com/office/drawing/2014/main" val="3178089877"/>
                    </a:ext>
                  </a:extLst>
                </a:gridCol>
                <a:gridCol w="235909">
                  <a:extLst>
                    <a:ext uri="{9D8B030D-6E8A-4147-A177-3AD203B41FA5}">
                      <a16:colId xmlns:a16="http://schemas.microsoft.com/office/drawing/2014/main" val="1926285768"/>
                    </a:ext>
                  </a:extLst>
                </a:gridCol>
                <a:gridCol w="1750498">
                  <a:extLst>
                    <a:ext uri="{9D8B030D-6E8A-4147-A177-3AD203B41FA5}">
                      <a16:colId xmlns:a16="http://schemas.microsoft.com/office/drawing/2014/main" val="2119987124"/>
                    </a:ext>
                  </a:extLst>
                </a:gridCol>
                <a:gridCol w="1750498">
                  <a:extLst>
                    <a:ext uri="{9D8B030D-6E8A-4147-A177-3AD203B41FA5}">
                      <a16:colId xmlns:a16="http://schemas.microsoft.com/office/drawing/2014/main" val="19028521"/>
                    </a:ext>
                  </a:extLst>
                </a:gridCol>
                <a:gridCol w="1750498">
                  <a:extLst>
                    <a:ext uri="{9D8B030D-6E8A-4147-A177-3AD203B41FA5}">
                      <a16:colId xmlns:a16="http://schemas.microsoft.com/office/drawing/2014/main" val="1526379362"/>
                    </a:ext>
                  </a:extLst>
                </a:gridCol>
              </a:tblGrid>
              <a:tr h="526175">
                <a:tc rowSpan="3">
                  <a:txBody>
                    <a:bodyPr/>
                    <a:lstStyle/>
                    <a:p>
                      <a:pPr algn="ctr"/>
                      <a:r>
                        <a:rPr lang="en-US" sz="500" b="1" dirty="0">
                          <a:solidFill>
                            <a:schemeClr val="tx1"/>
                          </a:solidFill>
                        </a:rPr>
                        <a:t>Perceived impact of risk</a:t>
                      </a:r>
                    </a:p>
                  </a:txBody>
                  <a:tcPr marL="0" marR="0" marT="274320" marB="91440" vert="vert27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500" b="0" i="0" dirty="0">
                          <a:solidFill>
                            <a:schemeClr val="tx1"/>
                          </a:solidFill>
                        </a:rPr>
                        <a:t>High</a:t>
                      </a:r>
                    </a:p>
                  </a:txBody>
                  <a:tcPr marT="0" marB="91440" vert="vert270">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algn="l" defTabSz="915373" rtl="0" eaLnBrk="1" latinLnBrk="0" hangingPunct="1">
                        <a:spcBef>
                          <a:spcPts val="300"/>
                        </a:spcBef>
                        <a:spcAft>
                          <a:spcPts val="600"/>
                        </a:spcAft>
                      </a:pPr>
                      <a:r>
                        <a:rPr lang="en-US" sz="700" b="1" i="0" kern="1200" dirty="0">
                          <a:solidFill>
                            <a:schemeClr val="tx1"/>
                          </a:solidFill>
                          <a:latin typeface="+mn-lt"/>
                          <a:ea typeface="+mn-ea"/>
                          <a:cs typeface="+mn-cs"/>
                        </a:rPr>
                        <a:t>Marginal risk</a:t>
                      </a:r>
                      <a:endParaRPr lang="en-US" sz="600" b="1" i="0" kern="1200" dirty="0">
                        <a:solidFill>
                          <a:schemeClr val="tx1"/>
                        </a:solidFill>
                        <a:latin typeface="+mn-lt"/>
                        <a:ea typeface="+mn-ea"/>
                        <a:cs typeface="+mn-cs"/>
                      </a:endParaRPr>
                    </a:p>
                    <a:p>
                      <a:pPr>
                        <a:spcBef>
                          <a:spcPts val="300"/>
                        </a:spcBef>
                      </a:pPr>
                      <a:r>
                        <a:rPr lang="en-US" sz="600" b="0" i="0" dirty="0">
                          <a:solidFill>
                            <a:schemeClr val="tx1"/>
                          </a:solidFill>
                        </a:rPr>
                        <a:t>Conduct occasional assessments </a:t>
                      </a:r>
                      <a:br>
                        <a:rPr lang="en-US" sz="600" b="0" i="0" dirty="0">
                          <a:solidFill>
                            <a:schemeClr val="tx1"/>
                          </a:solidFill>
                        </a:rPr>
                      </a:br>
                      <a:r>
                        <a:rPr lang="en-US" sz="600" b="0" i="0" dirty="0">
                          <a:solidFill>
                            <a:schemeClr val="tx1"/>
                          </a:solidFill>
                        </a:rPr>
                        <a:t>to note changes in the situation</a:t>
                      </a: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60000"/>
                        <a:lumOff val="40000"/>
                      </a:schemeClr>
                    </a:solidFill>
                  </a:tcPr>
                </a:tc>
                <a:tc gridSpan="2">
                  <a:txBody>
                    <a:bodyPr/>
                    <a:lstStyle/>
                    <a:p>
                      <a:pPr>
                        <a:spcBef>
                          <a:spcPts val="300"/>
                        </a:spcBef>
                        <a:spcAft>
                          <a:spcPts val="600"/>
                        </a:spcAft>
                      </a:pPr>
                      <a:r>
                        <a:rPr lang="en-US" sz="700" b="1" i="0" dirty="0">
                          <a:solidFill>
                            <a:schemeClr val="bg1"/>
                          </a:solidFill>
                        </a:rPr>
                        <a:t>Critical risk</a:t>
                      </a:r>
                      <a:endParaRPr lang="en-US" sz="600" i="0" dirty="0">
                        <a:solidFill>
                          <a:schemeClr val="bg1"/>
                        </a:solidFill>
                      </a:endParaRPr>
                    </a:p>
                    <a:p>
                      <a:pPr marL="91440" marR="0" lvl="0" indent="-91440" algn="l" defTabSz="914400" rtl="0" eaLnBrk="1" fontAlgn="auto" latinLnBrk="0" hangingPunct="1">
                        <a:lnSpc>
                          <a:spcPct val="100000"/>
                        </a:lnSpc>
                        <a:spcBef>
                          <a:spcPts val="0"/>
                        </a:spcBef>
                        <a:spcAft>
                          <a:spcPts val="0"/>
                        </a:spcAft>
                        <a:buClr>
                          <a:schemeClr val="bg1"/>
                        </a:buClr>
                        <a:buSzPct val="70000"/>
                        <a:buFont typeface="Wingdings" panose="05000000000000000000" pitchFamily="2" charset="2"/>
                        <a:buChar char="l"/>
                        <a:tabLst/>
                        <a:defRPr/>
                      </a:pPr>
                      <a:r>
                        <a:rPr lang="en-US" sz="600" i="0" kern="1200" dirty="0">
                          <a:solidFill>
                            <a:schemeClr val="bg1"/>
                          </a:solidFill>
                          <a:latin typeface="+mn-lt"/>
                          <a:ea typeface="+mn-ea"/>
                          <a:cs typeface="+mn-cs"/>
                        </a:rPr>
                        <a:t>Evaluate the relationship with the service provider and the future of the location from a delivery location standpoint </a:t>
                      </a:r>
                    </a:p>
                    <a:p>
                      <a:pPr marL="91440" marR="0" lvl="0" indent="-91440" algn="l" defTabSz="914400" rtl="0" eaLnBrk="1" fontAlgn="auto" latinLnBrk="0" hangingPunct="1">
                        <a:lnSpc>
                          <a:spcPct val="100000"/>
                        </a:lnSpc>
                        <a:spcBef>
                          <a:spcPts val="0"/>
                        </a:spcBef>
                        <a:spcAft>
                          <a:spcPts val="0"/>
                        </a:spcAft>
                        <a:buClr>
                          <a:schemeClr val="bg1"/>
                        </a:buClr>
                        <a:buSzPct val="70000"/>
                        <a:buFont typeface="Wingdings" panose="05000000000000000000" pitchFamily="2" charset="2"/>
                        <a:buChar char="l"/>
                        <a:tabLst/>
                        <a:defRPr/>
                      </a:pPr>
                      <a:r>
                        <a:rPr lang="en-US" sz="600" i="0" kern="1200" dirty="0">
                          <a:solidFill>
                            <a:schemeClr val="bg1"/>
                          </a:solidFill>
                          <a:latin typeface="+mn-lt"/>
                          <a:ea typeface="+mn-ea"/>
                          <a:cs typeface="+mn-cs"/>
                        </a:rPr>
                        <a:t>Execute contingency plans</a:t>
                      </a:r>
                    </a:p>
                  </a:txBody>
                  <a:tcPr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75000"/>
                      </a:schemeClr>
                    </a:solidFill>
                  </a:tcPr>
                </a:tc>
                <a:tc hMerge="1">
                  <a:txBody>
                    <a:bodyPr/>
                    <a:lstStyle/>
                    <a:p>
                      <a:endParaRPr lang="en-US" sz="1200" i="1" kern="1200" dirty="0">
                        <a:solidFill>
                          <a:schemeClr val="bg1"/>
                        </a:solidFill>
                        <a:latin typeface="+mn-lt"/>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2157574434"/>
                  </a:ext>
                </a:extLst>
              </a:tr>
              <a:tr h="434401">
                <a:tc vMerge="1">
                  <a:txBody>
                    <a:bodyPr/>
                    <a:lstStyle/>
                    <a:p>
                      <a:endParaRPr lang="en-US" sz="12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a:r>
                        <a:rPr lang="en-US" sz="500" b="0" i="0" dirty="0">
                          <a:solidFill>
                            <a:schemeClr val="tx1"/>
                          </a:solidFill>
                        </a:rPr>
                        <a:t>Medium</a:t>
                      </a:r>
                    </a:p>
                  </a:txBody>
                  <a:tcPr marT="91440" marB="91440" vert="vert270">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en-US" sz="12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25000">
                          <a:schemeClr val="tx2"/>
                        </a:gs>
                        <a:gs pos="100000">
                          <a:schemeClr val="accent1"/>
                        </a:gs>
                      </a:gsLst>
                      <a:lin ang="10800000" scaled="0"/>
                      <a:tileRect/>
                    </a:gradFill>
                  </a:tcPr>
                </a:tc>
                <a:tc>
                  <a:txBody>
                    <a:bodyPr/>
                    <a:lstStyle/>
                    <a:p>
                      <a:pPr>
                        <a:spcAft>
                          <a:spcPts val="600"/>
                        </a:spcAft>
                      </a:pPr>
                      <a:r>
                        <a:rPr lang="en-US" sz="700" b="1" i="0" dirty="0">
                          <a:solidFill>
                            <a:schemeClr val="tx1"/>
                          </a:solidFill>
                        </a:rPr>
                        <a:t>Intermediate risks</a:t>
                      </a:r>
                    </a:p>
                    <a:p>
                      <a:pPr>
                        <a:spcBef>
                          <a:spcPts val="300"/>
                        </a:spcBef>
                      </a:pPr>
                      <a:r>
                        <a:rPr lang="en-US" sz="600" b="0" i="0" dirty="0">
                          <a:solidFill>
                            <a:schemeClr val="tx1"/>
                          </a:solidFill>
                        </a:rPr>
                        <a:t>Ensure a formal plan to frequently monitor changes in the situation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5">
                        <a:lumMod val="40000"/>
                        <a:lumOff val="60000"/>
                      </a:schemeClr>
                    </a:solidFill>
                  </a:tcPr>
                </a:tc>
                <a:tc rowSpan="2">
                  <a:txBody>
                    <a:bodyPr/>
                    <a:lstStyle/>
                    <a:p>
                      <a:pPr marL="0" indent="0" algn="l" defTabSz="915373" rtl="0" eaLnBrk="1" latinLnBrk="0" hangingPunct="1">
                        <a:spcBef>
                          <a:spcPts val="300"/>
                        </a:spcBef>
                        <a:spcAft>
                          <a:spcPts val="600"/>
                        </a:spcAft>
                        <a:buClr>
                          <a:schemeClr val="accent2"/>
                        </a:buClr>
                        <a:buFont typeface="Arial" panose="020B0604020202020204" pitchFamily="34" charset="0"/>
                        <a:buNone/>
                      </a:pPr>
                      <a:r>
                        <a:rPr lang="en-US" sz="700" b="1" i="0" kern="1200" dirty="0">
                          <a:solidFill>
                            <a:schemeClr val="bg1"/>
                          </a:solidFill>
                          <a:latin typeface="+mn-lt"/>
                          <a:ea typeface="+mn-ea"/>
                          <a:cs typeface="+mn-cs"/>
                        </a:rPr>
                        <a:t>High risk</a:t>
                      </a:r>
                      <a:endParaRPr lang="en-US" sz="600" i="0" kern="1200" dirty="0">
                        <a:solidFill>
                          <a:schemeClr val="bg1"/>
                        </a:solidFill>
                        <a:latin typeface="+mn-lt"/>
                        <a:ea typeface="+mn-ea"/>
                        <a:cs typeface="+mn-cs"/>
                      </a:endParaRPr>
                    </a:p>
                    <a:p>
                      <a:pPr marL="91440" marR="0" lvl="0" indent="-91440" algn="l" defTabSz="914400" rtl="0" eaLnBrk="1" fontAlgn="auto" latinLnBrk="0" hangingPunct="1">
                        <a:lnSpc>
                          <a:spcPct val="100000"/>
                        </a:lnSpc>
                        <a:spcBef>
                          <a:spcPts val="0"/>
                        </a:spcBef>
                        <a:spcAft>
                          <a:spcPts val="0"/>
                        </a:spcAft>
                        <a:buClr>
                          <a:schemeClr val="bg1"/>
                        </a:buClr>
                        <a:buSzPct val="70000"/>
                        <a:buFont typeface="Wingdings" panose="05000000000000000000" pitchFamily="2" charset="2"/>
                        <a:buChar char="l"/>
                        <a:tabLst/>
                        <a:defRPr/>
                      </a:pPr>
                      <a:r>
                        <a:rPr lang="en-US" sz="600" i="0" kern="1200" dirty="0">
                          <a:solidFill>
                            <a:schemeClr val="bg1"/>
                          </a:solidFill>
                          <a:latin typeface="+mn-lt"/>
                          <a:ea typeface="+mn-ea"/>
                          <a:cs typeface="+mn-cs"/>
                        </a:rPr>
                        <a:t>Ensure continuous monitoring</a:t>
                      </a:r>
                    </a:p>
                    <a:p>
                      <a:pPr marL="91440" marR="0" lvl="0" indent="-91440" algn="l" defTabSz="914400" rtl="0" eaLnBrk="1" fontAlgn="auto" latinLnBrk="0" hangingPunct="1">
                        <a:lnSpc>
                          <a:spcPct val="100000"/>
                        </a:lnSpc>
                        <a:spcBef>
                          <a:spcPts val="0"/>
                        </a:spcBef>
                        <a:spcAft>
                          <a:spcPts val="0"/>
                        </a:spcAft>
                        <a:buClr>
                          <a:schemeClr val="bg1"/>
                        </a:buClr>
                        <a:buSzPct val="70000"/>
                        <a:buFont typeface="Wingdings" panose="05000000000000000000" pitchFamily="2" charset="2"/>
                        <a:buChar char="l"/>
                        <a:tabLst/>
                        <a:defRPr/>
                      </a:pPr>
                      <a:r>
                        <a:rPr lang="en-US" sz="600" i="0" kern="1200" dirty="0">
                          <a:solidFill>
                            <a:schemeClr val="bg1"/>
                          </a:solidFill>
                          <a:latin typeface="+mn-lt"/>
                          <a:ea typeface="+mn-ea"/>
                          <a:cs typeface="+mn-cs"/>
                        </a:rPr>
                        <a:t>Establish a business continuity plan and/or start thinking about moving parts of the operations to an alternate supplier/delivery location</a:t>
                      </a:r>
                    </a:p>
                    <a:p>
                      <a:pPr marL="91440" marR="0" lvl="0" indent="-91440" algn="l" defTabSz="914400" rtl="0" eaLnBrk="1" fontAlgn="auto" latinLnBrk="0" hangingPunct="1">
                        <a:lnSpc>
                          <a:spcPct val="100000"/>
                        </a:lnSpc>
                        <a:spcBef>
                          <a:spcPts val="0"/>
                        </a:spcBef>
                        <a:spcAft>
                          <a:spcPts val="0"/>
                        </a:spcAft>
                        <a:buClr>
                          <a:schemeClr val="bg1"/>
                        </a:buClr>
                        <a:buSzPct val="70000"/>
                        <a:buFont typeface="Wingdings" panose="05000000000000000000" pitchFamily="2" charset="2"/>
                        <a:buChar char="l"/>
                        <a:tabLst/>
                        <a:defRPr/>
                      </a:pPr>
                      <a:r>
                        <a:rPr lang="en-US" sz="600" i="0" kern="1200" dirty="0">
                          <a:solidFill>
                            <a:schemeClr val="bg1"/>
                          </a:solidFill>
                          <a:latin typeface="+mn-lt"/>
                          <a:ea typeface="+mn-ea"/>
                          <a:cs typeface="+mn-cs"/>
                        </a:rPr>
                        <a:t>Establish an official dialog with the service provider to highlight concerns</a:t>
                      </a:r>
                    </a:p>
                    <a:p>
                      <a:pPr marL="91440" marR="0" lvl="0" indent="-91440" algn="l" defTabSz="914400" rtl="0" eaLnBrk="1" fontAlgn="auto" latinLnBrk="0" hangingPunct="1">
                        <a:lnSpc>
                          <a:spcPct val="100000"/>
                        </a:lnSpc>
                        <a:spcBef>
                          <a:spcPts val="0"/>
                        </a:spcBef>
                        <a:spcAft>
                          <a:spcPts val="0"/>
                        </a:spcAft>
                        <a:buClr>
                          <a:schemeClr val="bg1"/>
                        </a:buClr>
                        <a:buSzPct val="70000"/>
                        <a:buFont typeface="Wingdings" panose="05000000000000000000" pitchFamily="2" charset="2"/>
                        <a:buChar char="l"/>
                        <a:tabLst/>
                        <a:defRPr/>
                      </a:pPr>
                      <a:r>
                        <a:rPr lang="en-US" sz="600" i="0" kern="1200" dirty="0">
                          <a:solidFill>
                            <a:schemeClr val="bg1"/>
                          </a:solidFill>
                          <a:latin typeface="+mn-lt"/>
                          <a:ea typeface="+mn-ea"/>
                          <a:cs typeface="+mn-cs"/>
                        </a:rPr>
                        <a:t>Create and test contingency plans</a:t>
                      </a:r>
                    </a:p>
                  </a:txBody>
                  <a:tcPr anchor="ctr">
                    <a:lnL w="635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2395671539"/>
                  </a:ext>
                </a:extLst>
              </a:tr>
              <a:tr h="397691">
                <a:tc vMerge="1">
                  <a:txBody>
                    <a:bodyPr/>
                    <a:lstStyle/>
                    <a:p>
                      <a:endParaRPr lang="en-US" sz="12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l"/>
                      <a:r>
                        <a:rPr lang="en-US" sz="500" b="0" i="0" dirty="0">
                          <a:solidFill>
                            <a:schemeClr val="tx1"/>
                          </a:solidFill>
                        </a:rPr>
                        <a:t>Low</a:t>
                      </a:r>
                    </a:p>
                  </a:txBody>
                  <a:tcPr marT="91440" marB="0" vert="vert270">
                    <a:lnL w="12700"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spcBef>
                          <a:spcPts val="300"/>
                        </a:spcBef>
                        <a:spcAft>
                          <a:spcPts val="600"/>
                        </a:spcAft>
                      </a:pPr>
                      <a:r>
                        <a:rPr lang="en-US" sz="600" b="1" i="0" dirty="0">
                          <a:solidFill>
                            <a:schemeClr val="tx1"/>
                          </a:solidFill>
                        </a:rPr>
                        <a:t>No risk</a:t>
                      </a:r>
                    </a:p>
                    <a:p>
                      <a:pPr>
                        <a:spcBef>
                          <a:spcPts val="300"/>
                        </a:spcBef>
                      </a:pPr>
                      <a:r>
                        <a:rPr lang="en-US" sz="500" b="0" i="0" dirty="0">
                          <a:solidFill>
                            <a:schemeClr val="tx1"/>
                          </a:solidFill>
                        </a:rPr>
                        <a:t>No impact on normal management activities</a:t>
                      </a:r>
                    </a:p>
                  </a:txBody>
                  <a:tcPr anchor="ctr">
                    <a:lnL w="9525"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chemeClr val="accent5">
                        <a:lumMod val="20000"/>
                        <a:lumOff val="80000"/>
                      </a:schemeClr>
                    </a:solidFill>
                  </a:tcPr>
                </a:tc>
                <a:tc hMerge="1">
                  <a:txBody>
                    <a:bodyPr/>
                    <a:lstStyle/>
                    <a:p>
                      <a:endParaRPr lang="en-US" sz="1200" b="0" i="1"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2"/>
                    </a:solidFill>
                  </a:tcPr>
                </a:tc>
                <a:tc vMerge="1">
                  <a:txBody>
                    <a:bodyPr/>
                    <a:lstStyle/>
                    <a:p>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04661251"/>
                  </a:ext>
                </a:extLst>
              </a:tr>
              <a:tr h="171313">
                <a:tc rowSpan="2" gridSpan="2">
                  <a:txBody>
                    <a:bodyPr/>
                    <a:lstStyle/>
                    <a:p>
                      <a:endParaRPr lang="en-US" sz="500" dirty="0">
                        <a:solidFill>
                          <a:schemeClr val="tx1"/>
                        </a:solidFill>
                      </a:endParaRPr>
                    </a:p>
                  </a:txBody>
                  <a:tcPr marT="91440" marB="9144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hMerge="1">
                  <a:txBody>
                    <a:bodyPr/>
                    <a:lstStyle/>
                    <a:p>
                      <a:endParaRPr lang="en-US"/>
                    </a:p>
                  </a:txBody>
                  <a:tcPr/>
                </a:tc>
                <a:tc>
                  <a:txBody>
                    <a:bodyPr/>
                    <a:lstStyle/>
                    <a:p>
                      <a:pPr algn="l"/>
                      <a:r>
                        <a:rPr lang="en-US" sz="500" b="0" i="0" dirty="0">
                          <a:solidFill>
                            <a:schemeClr val="tx1"/>
                          </a:solidFill>
                        </a:rPr>
                        <a:t>Low</a:t>
                      </a:r>
                    </a:p>
                  </a:txBody>
                  <a:tcPr marL="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500" b="0" i="0" dirty="0">
                          <a:solidFill>
                            <a:schemeClr val="tx1"/>
                          </a:solidFill>
                        </a:rPr>
                        <a:t>Medium</a:t>
                      </a:r>
                    </a:p>
                  </a:txBody>
                  <a:tcPr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500" b="0" i="0" dirty="0">
                          <a:solidFill>
                            <a:schemeClr val="tx1"/>
                          </a:solidFill>
                        </a:rPr>
                        <a:t>High</a:t>
                      </a:r>
                    </a:p>
                  </a:txBody>
                  <a:tcPr marR="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9557721"/>
                  </a:ext>
                </a:extLst>
              </a:tr>
              <a:tr h="0">
                <a:tc gridSpan="2" vMerge="1">
                  <a:txBody>
                    <a:bodyPr/>
                    <a:lstStyle/>
                    <a:p>
                      <a:endParaRPr lang="en-US"/>
                    </a:p>
                  </a:txBody>
                  <a:tcPr/>
                </a:tc>
                <a:tc hMerge="1" vMerge="1">
                  <a:txBody>
                    <a:bodyPr/>
                    <a:lstStyle/>
                    <a:p>
                      <a:endParaRPr lang="en-US"/>
                    </a:p>
                  </a:txBody>
                  <a:tcPr/>
                </a:tc>
                <a:tc gridSpan="3">
                  <a:txBody>
                    <a:bodyPr/>
                    <a:lstStyle/>
                    <a:p>
                      <a:pPr algn="ctr"/>
                      <a:r>
                        <a:rPr lang="en-US" sz="500" b="1" dirty="0">
                          <a:solidFill>
                            <a:schemeClr val="tx1"/>
                          </a:solidFill>
                        </a:rPr>
                        <a:t>Likelihood of occurrence</a:t>
                      </a:r>
                    </a:p>
                  </a:txBody>
                  <a:tcPr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2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hMerge="1">
                  <a:txBody>
                    <a:bodyPr/>
                    <a:lstStyle/>
                    <a:p>
                      <a:endParaRPr lang="en-US" sz="1200"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913337413"/>
                  </a:ext>
                </a:extLst>
              </a:tr>
            </a:tbl>
          </a:graphicData>
        </a:graphic>
      </p:graphicFrame>
      <p:graphicFrame>
        <p:nvGraphicFramePr>
          <p:cNvPr id="27" name="Table 26">
            <a:extLst>
              <a:ext uri="{FF2B5EF4-FFF2-40B4-BE49-F238E27FC236}">
                <a16:creationId xmlns:a16="http://schemas.microsoft.com/office/drawing/2014/main" id="{1D6C8B76-4277-4DBD-9D74-124E6BA7800C}"/>
              </a:ext>
            </a:extLst>
          </p:cNvPr>
          <p:cNvGraphicFramePr>
            <a:graphicFrameLocks noGrp="1"/>
          </p:cNvGraphicFramePr>
          <p:nvPr>
            <p:extLst>
              <p:ext uri="{D42A27DB-BD31-4B8C-83A1-F6EECF244321}">
                <p14:modId xmlns:p14="http://schemas.microsoft.com/office/powerpoint/2010/main" val="218133232"/>
              </p:ext>
            </p:extLst>
          </p:nvPr>
        </p:nvGraphicFramePr>
        <p:xfrm>
          <a:off x="307974" y="1657349"/>
          <a:ext cx="11597514" cy="4745884"/>
        </p:xfrm>
        <a:graphic>
          <a:graphicData uri="http://schemas.openxmlformats.org/drawingml/2006/table">
            <a:tbl>
              <a:tblPr firstRow="1" bandRow="1">
                <a:tableStyleId>{5C22544A-7EE6-4342-B048-85BDC9FD1C3A}</a:tableStyleId>
              </a:tblPr>
              <a:tblGrid>
                <a:gridCol w="5798757">
                  <a:extLst>
                    <a:ext uri="{9D8B030D-6E8A-4147-A177-3AD203B41FA5}">
                      <a16:colId xmlns:a16="http://schemas.microsoft.com/office/drawing/2014/main" val="4123634592"/>
                    </a:ext>
                  </a:extLst>
                </a:gridCol>
                <a:gridCol w="5798757">
                  <a:extLst>
                    <a:ext uri="{9D8B030D-6E8A-4147-A177-3AD203B41FA5}">
                      <a16:colId xmlns:a16="http://schemas.microsoft.com/office/drawing/2014/main" val="3598086808"/>
                    </a:ext>
                  </a:extLst>
                </a:gridCol>
              </a:tblGrid>
              <a:tr h="221287">
                <a:tc>
                  <a:txBody>
                    <a:bodyPr/>
                    <a:lstStyle/>
                    <a:p>
                      <a:r>
                        <a:rPr lang="en-US" sz="1100" dirty="0">
                          <a:solidFill>
                            <a:schemeClr val="bg1"/>
                          </a:solidFill>
                        </a:rPr>
                        <a:t>Dimensions to realize value from outsourcing ecosystem   </a:t>
                      </a:r>
                    </a:p>
                  </a:txBody>
                  <a:tcPr marL="45720" marR="45720" marT="27432" marB="27432">
                    <a:lnL w="9525"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dirty="0">
                          <a:solidFill>
                            <a:schemeClr val="bg1"/>
                          </a:solidFill>
                        </a:rPr>
                        <a:t>Key factors driving future location strategy and their impact on demand</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686814725"/>
                  </a:ext>
                </a:extLst>
              </a:tr>
              <a:tr h="2150438">
                <a:tc>
                  <a:txBody>
                    <a:bodyPr/>
                    <a:lstStyle/>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930218"/>
                  </a:ext>
                </a:extLst>
              </a:tr>
              <a:tr h="221287">
                <a:tc>
                  <a:txBody>
                    <a:bodyPr/>
                    <a:lstStyle/>
                    <a:p>
                      <a:r>
                        <a:rPr lang="en-US" sz="1100" b="1" dirty="0">
                          <a:solidFill>
                            <a:schemeClr val="bg1"/>
                          </a:solidFill>
                        </a:rPr>
                        <a:t>Categorization of service providers based on their role</a:t>
                      </a:r>
                    </a:p>
                  </a:txBody>
                  <a:tcPr marL="45720" marR="45720" marT="27432" marB="27432">
                    <a:lnL w="9525"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b="1" dirty="0">
                          <a:solidFill>
                            <a:schemeClr val="bg1"/>
                          </a:solidFill>
                        </a:rPr>
                        <a:t>Outsourcing risk management matrix </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551180898"/>
                  </a:ext>
                </a:extLst>
              </a:tr>
              <a:tr h="2150438">
                <a:tc>
                  <a:txBody>
                    <a:bodyPr/>
                    <a:lstStyle/>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2621175"/>
                  </a:ext>
                </a:extLst>
              </a:tr>
            </a:tbl>
          </a:graphicData>
        </a:graphic>
      </p:graphicFrame>
      <p:graphicFrame>
        <p:nvGraphicFramePr>
          <p:cNvPr id="420" name="Content Placeholder 3">
            <a:extLst>
              <a:ext uri="{FF2B5EF4-FFF2-40B4-BE49-F238E27FC236}">
                <a16:creationId xmlns:a16="http://schemas.microsoft.com/office/drawing/2014/main" id="{0223B758-30E9-4156-83CF-B44602A3AC08}"/>
              </a:ext>
            </a:extLst>
          </p:cNvPr>
          <p:cNvGraphicFramePr>
            <a:graphicFrameLocks/>
          </p:cNvGraphicFramePr>
          <p:nvPr>
            <p:extLst>
              <p:ext uri="{D42A27DB-BD31-4B8C-83A1-F6EECF244321}">
                <p14:modId xmlns:p14="http://schemas.microsoft.com/office/powerpoint/2010/main" val="153972042"/>
              </p:ext>
            </p:extLst>
          </p:nvPr>
        </p:nvGraphicFramePr>
        <p:xfrm>
          <a:off x="467248" y="4342033"/>
          <a:ext cx="5439097" cy="1955185"/>
        </p:xfrm>
        <a:graphic>
          <a:graphicData uri="http://schemas.openxmlformats.org/drawingml/2006/table">
            <a:tbl>
              <a:tblPr firstRow="1" bandRow="1">
                <a:tableStyleId>{5C22544A-7EE6-4342-B048-85BDC9FD1C3A}</a:tableStyleId>
              </a:tblPr>
              <a:tblGrid>
                <a:gridCol w="1161255">
                  <a:extLst>
                    <a:ext uri="{9D8B030D-6E8A-4147-A177-3AD203B41FA5}">
                      <a16:colId xmlns:a16="http://schemas.microsoft.com/office/drawing/2014/main" val="3089925504"/>
                    </a:ext>
                  </a:extLst>
                </a:gridCol>
                <a:gridCol w="2979876">
                  <a:extLst>
                    <a:ext uri="{9D8B030D-6E8A-4147-A177-3AD203B41FA5}">
                      <a16:colId xmlns:a16="http://schemas.microsoft.com/office/drawing/2014/main" val="1401987649"/>
                    </a:ext>
                  </a:extLst>
                </a:gridCol>
                <a:gridCol w="1297966">
                  <a:extLst>
                    <a:ext uri="{9D8B030D-6E8A-4147-A177-3AD203B41FA5}">
                      <a16:colId xmlns:a16="http://schemas.microsoft.com/office/drawing/2014/main" val="2191524916"/>
                    </a:ext>
                  </a:extLst>
                </a:gridCol>
              </a:tblGrid>
              <a:tr h="149604">
                <a:tc>
                  <a:txBody>
                    <a:bodyPr/>
                    <a:lstStyle/>
                    <a:p>
                      <a:pPr algn="l"/>
                      <a:r>
                        <a:rPr lang="en-US" sz="700" dirty="0">
                          <a:latin typeface="+mn-lt"/>
                          <a:cs typeface="Calibri" panose="020F0502020204030204" pitchFamily="34" charset="0"/>
                        </a:rPr>
                        <a:t>Service provider types</a:t>
                      </a:r>
                      <a:endParaRPr lang="en-US" sz="700" baseline="30000" dirty="0">
                        <a:latin typeface="+mn-lt"/>
                        <a:cs typeface="Calibri" panose="020F0502020204030204" pitchFamily="34" charset="0"/>
                      </a:endParaRPr>
                    </a:p>
                  </a:txBody>
                  <a:tcPr marL="45720" marR="45720" marT="18288" marB="0">
                    <a:lnL w="6350"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dash"/>
                      <a:round/>
                      <a:headEnd type="none" w="med" len="med"/>
                      <a:tailEnd type="none" w="med" len="med"/>
                    </a:lnB>
                    <a:solidFill>
                      <a:schemeClr val="bg1">
                        <a:lumMod val="50000"/>
                      </a:schemeClr>
                    </a:solidFill>
                  </a:tcPr>
                </a:tc>
                <a:tc>
                  <a:txBody>
                    <a:bodyPr/>
                    <a:lstStyle/>
                    <a:p>
                      <a:pPr algn="l"/>
                      <a:r>
                        <a:rPr lang="en-US" sz="700" dirty="0">
                          <a:latin typeface="+mn-lt"/>
                          <a:cs typeface="Calibri" panose="020F0502020204030204" pitchFamily="34" charset="0"/>
                        </a:rPr>
                        <a:t>Value proposition of provider type</a:t>
                      </a:r>
                    </a:p>
                  </a:txBody>
                  <a:tcPr marL="45720" marR="45720" marT="18288" marB="0">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dash"/>
                      <a:round/>
                      <a:headEnd type="none" w="med" len="med"/>
                      <a:tailEnd type="none" w="med" len="med"/>
                    </a:lnB>
                    <a:solidFill>
                      <a:schemeClr val="bg1">
                        <a:lumMod val="50000"/>
                      </a:schemeClr>
                    </a:solidFill>
                  </a:tcPr>
                </a:tc>
                <a:tc>
                  <a:txBody>
                    <a:bodyPr/>
                    <a:lstStyle/>
                    <a:p>
                      <a:pPr algn="ctr"/>
                      <a:r>
                        <a:rPr lang="en-US" sz="700" dirty="0">
                          <a:latin typeface="+mn-lt"/>
                          <a:cs typeface="Calibri" panose="020F0502020204030204" pitchFamily="34" charset="0"/>
                        </a:rPr>
                        <a:t>Typical outsourcing share</a:t>
                      </a:r>
                    </a:p>
                  </a:txBody>
                  <a:tcPr marL="45720" marR="45720" marT="18288" marB="0">
                    <a:lnL w="9525" cap="flat" cmpd="sng" algn="ctr">
                      <a:solidFill>
                        <a:schemeClr val="bg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noFill/>
                      <a:prstDash val="dash"/>
                      <a:round/>
                      <a:headEnd type="none" w="med" len="med"/>
                      <a:tailEnd type="none" w="med" len="med"/>
                    </a:lnB>
                    <a:solidFill>
                      <a:schemeClr val="bg1">
                        <a:lumMod val="50000"/>
                      </a:schemeClr>
                    </a:solidFill>
                  </a:tcPr>
                </a:tc>
                <a:extLst>
                  <a:ext uri="{0D108BD9-81ED-4DB2-BD59-A6C34878D82A}">
                    <a16:rowId xmlns:a16="http://schemas.microsoft.com/office/drawing/2014/main" val="1188318046"/>
                  </a:ext>
                </a:extLst>
              </a:tr>
              <a:tr h="339346">
                <a:tc>
                  <a:txBody>
                    <a:bodyPr/>
                    <a:lstStyle/>
                    <a:p>
                      <a:endParaRPr lang="en-US" sz="1400" b="1" dirty="0">
                        <a:latin typeface="+mn-lt"/>
                        <a:cs typeface="Calibri" panose="020F0502020204030204" pitchFamily="34" charset="0"/>
                      </a:endParaRPr>
                    </a:p>
                  </a:txBody>
                  <a:tcPr marL="36576" marR="36576" marT="27432" marB="27432">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rPr>
                        <a:t>On-site workforce providers</a:t>
                      </a:r>
                    </a:p>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rPr>
                        <a:t>Short-term workforce provid</a:t>
                      </a:r>
                      <a:r>
                        <a:rPr kumimoji="0" lang="en-US" sz="520" b="0" i="0" u="none" strike="noStrike" kern="1200" cap="none" spc="0" normalizeH="0" baseline="0" dirty="0">
                          <a:ln>
                            <a:noFill/>
                          </a:ln>
                          <a:solidFill>
                            <a:schemeClr val="tx1"/>
                          </a:solidFill>
                          <a:effectLst/>
                          <a:uLnTx/>
                          <a:uFillTx/>
                          <a:latin typeface="+mn-lt"/>
                          <a:ea typeface="+mn-ea"/>
                          <a:cs typeface="Calibri" panose="020F0502020204030204" pitchFamily="34" charset="0"/>
                        </a:rPr>
                        <a:t>ers (primarily temporary </a:t>
                      </a:r>
                      <a:r>
                        <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rPr>
                        <a:t>or contract-based staffing for seasonal requirements)</a:t>
                      </a:r>
                    </a:p>
                  </a:txBody>
                  <a:tcPr marL="45720" marR="365760"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0" marR="0" lvl="1" indent="0" algn="ctr" defTabSz="914400" rtl="0" eaLnBrk="1" fontAlgn="base" latinLnBrk="0" hangingPunct="1">
                        <a:lnSpc>
                          <a:spcPct val="100000"/>
                        </a:lnSpc>
                        <a:spcBef>
                          <a:spcPts val="0"/>
                        </a:spcBef>
                        <a:spcAft>
                          <a:spcPts val="0"/>
                        </a:spcAft>
                        <a:buClr>
                          <a:srgbClr val="005A8C"/>
                        </a:buClr>
                        <a:buSzPct val="70000"/>
                        <a:buFont typeface="Wingdings" pitchFamily="2" charset="2"/>
                        <a:buNone/>
                        <a:tabLst/>
                        <a:defRPr/>
                      </a:pPr>
                      <a:r>
                        <a:rPr kumimoji="0" lang="en-US" sz="700" b="1" i="0" u="none" strike="noStrike" kern="1200" cap="none" spc="0" normalizeH="0" baseline="0" dirty="0">
                          <a:ln>
                            <a:noFill/>
                          </a:ln>
                          <a:solidFill>
                            <a:srgbClr val="3F3F3F"/>
                          </a:solidFill>
                          <a:effectLst/>
                          <a:uLnTx/>
                          <a:uFillTx/>
                          <a:latin typeface="+mn-lt"/>
                          <a:ea typeface="+mn-ea"/>
                          <a:cs typeface="Calibri" panose="020F0502020204030204" pitchFamily="34" charset="0"/>
                        </a:rPr>
                        <a:t>10-15%</a:t>
                      </a:r>
                    </a:p>
                  </a:txBody>
                  <a:tcPr marL="36576" marR="36576"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482735308"/>
                  </a:ext>
                </a:extLst>
              </a:tr>
              <a:tr h="367420">
                <a:tc>
                  <a:txBody>
                    <a:bodyPr/>
                    <a:lstStyle/>
                    <a:p>
                      <a:endParaRPr lang="en-US" sz="1400" b="1" dirty="0">
                        <a:latin typeface="+mn-lt"/>
                        <a:cs typeface="Calibri" panose="020F0502020204030204" pitchFamily="34" charset="0"/>
                      </a:endParaRPr>
                    </a:p>
                  </a:txBody>
                  <a:tcPr marL="36576" marR="36576" marT="27432" marB="27432">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noProof="0" dirty="0">
                          <a:ln>
                            <a:noFill/>
                          </a:ln>
                          <a:solidFill>
                            <a:srgbClr val="3F3F3F"/>
                          </a:solidFill>
                          <a:effectLst/>
                          <a:uLnTx/>
                          <a:uFillTx/>
                          <a:latin typeface="+mn-lt"/>
                          <a:ea typeface="+mn-ea"/>
                          <a:cs typeface="Calibri" panose="020F0502020204030204" pitchFamily="34" charset="0"/>
                        </a:rPr>
                        <a:t>High offshore scale for basic engineering services roles (e.g., mechanical engineering, manual testing, L1/L2 support, or managed services)</a:t>
                      </a:r>
                    </a:p>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rPr>
                        <a:t>Onshore project management and business analysts</a:t>
                      </a:r>
                      <a:endParaRPr kumimoji="0" lang="en-US" sz="520" b="0" i="0" u="none" strike="noStrike" kern="1200" cap="none" spc="0" normalizeH="0" baseline="0" noProof="0" dirty="0">
                        <a:ln>
                          <a:noFill/>
                        </a:ln>
                        <a:solidFill>
                          <a:srgbClr val="3F3F3F"/>
                        </a:solidFill>
                        <a:effectLst/>
                        <a:uLnTx/>
                        <a:uFillTx/>
                        <a:latin typeface="+mn-lt"/>
                        <a:ea typeface="+mn-ea"/>
                        <a:cs typeface="Calibri" panose="020F0502020204030204" pitchFamily="34" charset="0"/>
                      </a:endParaRPr>
                    </a:p>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noProof="0" dirty="0">
                          <a:ln>
                            <a:noFill/>
                          </a:ln>
                          <a:solidFill>
                            <a:srgbClr val="3F3F3F"/>
                          </a:solidFill>
                          <a:effectLst/>
                          <a:uLnTx/>
                          <a:uFillTx/>
                          <a:latin typeface="+mn-lt"/>
                          <a:ea typeface="+mn-ea"/>
                          <a:cs typeface="Calibri" panose="020F0502020204030204" pitchFamily="34" charset="0"/>
                        </a:rPr>
                        <a:t>Highly competitive on rates</a:t>
                      </a:r>
                      <a:endPar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endParaRPr>
                    </a:p>
                  </a:txBody>
                  <a:tcPr marL="45720" marR="365760"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0" marR="0" lvl="1" indent="0" algn="ctr" defTabSz="914400" rtl="0" eaLnBrk="1" fontAlgn="base" latinLnBrk="0" hangingPunct="1">
                        <a:lnSpc>
                          <a:spcPct val="100000"/>
                        </a:lnSpc>
                        <a:spcBef>
                          <a:spcPts val="0"/>
                        </a:spcBef>
                        <a:spcAft>
                          <a:spcPts val="0"/>
                        </a:spcAft>
                        <a:buClr>
                          <a:srgbClr val="005A8C"/>
                        </a:buClr>
                        <a:buSzPct val="70000"/>
                        <a:buFont typeface="Wingdings" pitchFamily="2" charset="2"/>
                        <a:buNone/>
                        <a:tabLst/>
                        <a:defRPr/>
                      </a:pPr>
                      <a:r>
                        <a:rPr kumimoji="0" lang="en-US" sz="700" b="1"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40-45%</a:t>
                      </a:r>
                    </a:p>
                  </a:txBody>
                  <a:tcPr marL="36576" marR="36576"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4007119706"/>
                  </a:ext>
                </a:extLst>
              </a:tr>
              <a:tr h="383177">
                <a:tc>
                  <a:txBody>
                    <a:bodyPr/>
                    <a:lstStyle/>
                    <a:p>
                      <a:endParaRPr lang="en-US" sz="1400" b="1" dirty="0">
                        <a:latin typeface="+mn-lt"/>
                        <a:cs typeface="Calibri" panose="020F0502020204030204" pitchFamily="34" charset="0"/>
                      </a:endParaRPr>
                    </a:p>
                  </a:txBody>
                  <a:tcPr marL="36576" marR="36576" marT="27432" marB="27432">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rPr>
                        <a:t>Primary value proposition of delivering through relationships with partners such as engineering technology vendors, design firms, and hyperscalers</a:t>
                      </a:r>
                    </a:p>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rgbClr val="3F3F3F"/>
                          </a:solidFill>
                          <a:effectLst/>
                          <a:uLnTx/>
                          <a:uFillTx/>
                          <a:latin typeface="+mn-lt"/>
                          <a:ea typeface="+mn-ea"/>
                          <a:cs typeface="Calibri" panose="020F0502020204030204" pitchFamily="34" charset="0"/>
                        </a:rPr>
                        <a:t>Other examples include aggregators of staffing firms (UBER equivalent of the staffing landscape) or managing crowdsourcing platforms</a:t>
                      </a:r>
                    </a:p>
                  </a:txBody>
                  <a:tcPr marL="45720" marR="365760"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0" marR="0" lvl="1" indent="0" algn="ctr" defTabSz="914400" rtl="0" eaLnBrk="1" fontAlgn="base" latinLnBrk="0" hangingPunct="1">
                        <a:lnSpc>
                          <a:spcPct val="100000"/>
                        </a:lnSpc>
                        <a:spcBef>
                          <a:spcPts val="0"/>
                        </a:spcBef>
                        <a:spcAft>
                          <a:spcPts val="0"/>
                        </a:spcAft>
                        <a:buClr>
                          <a:srgbClr val="005A8C"/>
                        </a:buClr>
                        <a:buSzPct val="70000"/>
                        <a:buFont typeface="Wingdings" pitchFamily="2" charset="2"/>
                        <a:buNone/>
                        <a:tabLst/>
                        <a:defRPr/>
                      </a:pPr>
                      <a:r>
                        <a:rPr kumimoji="0" lang="en-US" sz="700" b="1" i="0" u="none" strike="noStrike" kern="1200" cap="none" spc="0" normalizeH="0" baseline="0" dirty="0">
                          <a:ln>
                            <a:noFill/>
                          </a:ln>
                          <a:solidFill>
                            <a:schemeClr val="tx1"/>
                          </a:solidFill>
                          <a:effectLst/>
                          <a:uLnTx/>
                          <a:uFillTx/>
                          <a:latin typeface="+mn-lt"/>
                          <a:ea typeface="+mn-ea"/>
                          <a:cs typeface="Calibri" panose="020F0502020204030204" pitchFamily="34" charset="0"/>
                        </a:rPr>
                        <a:t>5-10%</a:t>
                      </a:r>
                    </a:p>
                  </a:txBody>
                  <a:tcPr marL="36576" marR="36576"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2494949055"/>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latin typeface="+mn-lt"/>
                        <a:cs typeface="Calibri" panose="020F0502020204030204" pitchFamily="34" charset="0"/>
                      </a:endParaRPr>
                    </a:p>
                  </a:txBody>
                  <a:tcPr marL="36576" marR="36576" marT="27432" marB="27432">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noProof="0" dirty="0">
                          <a:ln>
                            <a:noFill/>
                          </a:ln>
                          <a:solidFill>
                            <a:srgbClr val="3F3F3F"/>
                          </a:solidFill>
                          <a:effectLst/>
                          <a:uLnTx/>
                          <a:uFillTx/>
                          <a:latin typeface="+mn-lt"/>
                          <a:ea typeface="+mn-ea"/>
                          <a:cs typeface="Calibri" panose="020F0502020204030204" pitchFamily="34" charset="0"/>
                        </a:rPr>
                        <a:t>Drive the transformation agenda at </a:t>
                      </a:r>
                      <a:r>
                        <a:rPr kumimoji="0" lang="en-US" sz="520" b="0"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the C-Level across business units by leveraging a broad set of consultative and premium skills across a variety of functions and roles </a:t>
                      </a:r>
                    </a:p>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noProof="0" dirty="0">
                          <a:ln>
                            <a:noFill/>
                          </a:ln>
                          <a:solidFill>
                            <a:srgbClr val="3F3F3F"/>
                          </a:solidFill>
                          <a:effectLst/>
                          <a:uLnTx/>
                          <a:uFillTx/>
                          <a:latin typeface="+mn-lt"/>
                          <a:ea typeface="+mn-ea"/>
                          <a:cs typeface="Calibri" panose="020F0502020204030204" pitchFamily="34" charset="0"/>
                        </a:rPr>
                        <a:t>High onshore scale (focus on high-quality premium resources with domain, technology, or techno-functional skills)</a:t>
                      </a:r>
                    </a:p>
                  </a:txBody>
                  <a:tcPr marL="45720" marR="365760"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0" marR="0" lvl="1" indent="0" algn="ctr" defTabSz="914400" rtl="0" eaLnBrk="1" fontAlgn="base" latinLnBrk="0" hangingPunct="1">
                        <a:lnSpc>
                          <a:spcPct val="100000"/>
                        </a:lnSpc>
                        <a:spcBef>
                          <a:spcPts val="0"/>
                        </a:spcBef>
                        <a:spcAft>
                          <a:spcPts val="0"/>
                        </a:spcAft>
                        <a:buClr>
                          <a:srgbClr val="005A8C"/>
                        </a:buClr>
                        <a:buSzPct val="70000"/>
                        <a:buFont typeface="Wingdings" pitchFamily="2" charset="2"/>
                        <a:buNone/>
                        <a:tabLst/>
                        <a:defRPr/>
                      </a:pPr>
                      <a:r>
                        <a:rPr kumimoji="0" lang="en-US" sz="700" b="1" i="0" u="none" strike="noStrike" kern="1200" cap="none" spc="0" normalizeH="0" baseline="0" noProof="0" dirty="0">
                          <a:ln>
                            <a:noFill/>
                          </a:ln>
                          <a:solidFill>
                            <a:srgbClr val="3F3F3F"/>
                          </a:solidFill>
                          <a:effectLst/>
                          <a:uLnTx/>
                          <a:uFillTx/>
                          <a:latin typeface="+mn-lt"/>
                          <a:ea typeface="+mn-ea"/>
                          <a:cs typeface="Calibri" panose="020F0502020204030204" pitchFamily="34" charset="0"/>
                        </a:rPr>
                        <a:t>10-15%</a:t>
                      </a:r>
                    </a:p>
                  </a:txBody>
                  <a:tcPr marL="36576" marR="36576"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802491422"/>
                  </a:ext>
                </a:extLst>
              </a:tr>
              <a:tr h="3393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latin typeface="+mn-lt"/>
                        <a:cs typeface="Calibri" panose="020F0502020204030204" pitchFamily="34" charset="0"/>
                      </a:endParaRPr>
                    </a:p>
                  </a:txBody>
                  <a:tcPr marL="36576" marR="36576" marT="27432" marB="27432">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chemeClr val="tx1"/>
                          </a:solidFill>
                          <a:effectLst/>
                          <a:uLnTx/>
                          <a:uFillTx/>
                          <a:latin typeface="+mn-lt"/>
                          <a:ea typeface="+mn-ea"/>
                          <a:cs typeface="Calibri" panose="020F0502020204030204" pitchFamily="34" charset="0"/>
                        </a:rPr>
                        <a:t>Provide a narrow set of premium technology or domain skills (e.g., UI/UX design, data engineering, and automotive engineering)</a:t>
                      </a:r>
                    </a:p>
                    <a:p>
                      <a:pPr marL="91440" marR="0" lvl="1" indent="-91440" algn="l" defTabSz="914400" rtl="0" eaLnBrk="1" fontAlgn="base" latinLnBrk="0" hangingPunct="1">
                        <a:lnSpc>
                          <a:spcPct val="100000"/>
                        </a:lnSpc>
                        <a:spcBef>
                          <a:spcPts val="0"/>
                        </a:spcBef>
                        <a:spcAft>
                          <a:spcPts val="0"/>
                        </a:spcAft>
                        <a:buClr>
                          <a:srgbClr val="005A8C"/>
                        </a:buClr>
                        <a:buSzPct val="70000"/>
                        <a:buFont typeface="Wingdings" pitchFamily="2" charset="2"/>
                        <a:buChar char="l"/>
                        <a:tabLst/>
                        <a:defRPr/>
                      </a:pPr>
                      <a:r>
                        <a:rPr kumimoji="0" lang="en-US" sz="520" b="0" i="0" u="none" strike="noStrike" kern="1200" cap="none" spc="0" normalizeH="0" baseline="0" dirty="0">
                          <a:ln>
                            <a:noFill/>
                          </a:ln>
                          <a:solidFill>
                            <a:schemeClr val="tx1"/>
                          </a:solidFill>
                          <a:effectLst/>
                          <a:uLnTx/>
                          <a:uFillTx/>
                          <a:latin typeface="+mn-lt"/>
                          <a:ea typeface="+mn-ea"/>
                          <a:cs typeface="Calibri" panose="020F0502020204030204" pitchFamily="34" charset="0"/>
                        </a:rPr>
                        <a:t>Some specialists focus on particular geographies</a:t>
                      </a:r>
                    </a:p>
                  </a:txBody>
                  <a:tcPr marL="45720" marR="365760"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0" marR="0" lvl="1" indent="0" algn="ctr" defTabSz="914400" rtl="0" eaLnBrk="1" fontAlgn="base" latinLnBrk="0" hangingPunct="1">
                        <a:lnSpc>
                          <a:spcPct val="100000"/>
                        </a:lnSpc>
                        <a:spcBef>
                          <a:spcPts val="0"/>
                        </a:spcBef>
                        <a:spcAft>
                          <a:spcPts val="0"/>
                        </a:spcAft>
                        <a:buClr>
                          <a:srgbClr val="005A8C"/>
                        </a:buClr>
                        <a:buSzPct val="70000"/>
                        <a:buFont typeface="Wingdings" pitchFamily="2" charset="2"/>
                        <a:buNone/>
                        <a:tabLst/>
                        <a:defRPr/>
                      </a:pPr>
                      <a:r>
                        <a:rPr kumimoji="0" lang="en-US" sz="700" b="1" i="0" u="none" strike="noStrike" kern="1200" cap="none" spc="0" normalizeH="0" baseline="0" dirty="0">
                          <a:ln>
                            <a:noFill/>
                          </a:ln>
                          <a:solidFill>
                            <a:schemeClr val="tx1"/>
                          </a:solidFill>
                          <a:effectLst/>
                          <a:uLnTx/>
                          <a:uFillTx/>
                          <a:latin typeface="+mn-lt"/>
                          <a:ea typeface="+mn-ea"/>
                          <a:cs typeface="Calibri" panose="020F0502020204030204" pitchFamily="34" charset="0"/>
                        </a:rPr>
                        <a:t>20-25%</a:t>
                      </a:r>
                    </a:p>
                  </a:txBody>
                  <a:tcPr marL="36576" marR="36576" marT="27432" marB="27432"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23644711"/>
                  </a:ext>
                </a:extLst>
              </a:tr>
            </a:tbl>
          </a:graphicData>
        </a:graphic>
      </p:graphicFrame>
      <p:graphicFrame>
        <p:nvGraphicFramePr>
          <p:cNvPr id="390" name="Table 389">
            <a:extLst>
              <a:ext uri="{FF2B5EF4-FFF2-40B4-BE49-F238E27FC236}">
                <a16:creationId xmlns:a16="http://schemas.microsoft.com/office/drawing/2014/main" id="{23EB1F08-757C-40CA-A79A-90D316F33237}"/>
              </a:ext>
            </a:extLst>
          </p:cNvPr>
          <p:cNvGraphicFramePr>
            <a:graphicFrameLocks noGrp="1"/>
          </p:cNvGraphicFramePr>
          <p:nvPr>
            <p:extLst>
              <p:ext uri="{D42A27DB-BD31-4B8C-83A1-F6EECF244321}">
                <p14:modId xmlns:p14="http://schemas.microsoft.com/office/powerpoint/2010/main" val="3591674517"/>
              </p:ext>
            </p:extLst>
          </p:nvPr>
        </p:nvGraphicFramePr>
        <p:xfrm>
          <a:off x="6179846" y="2044926"/>
          <a:ext cx="5640096" cy="1950720"/>
        </p:xfrm>
        <a:graphic>
          <a:graphicData uri="http://schemas.openxmlformats.org/drawingml/2006/table">
            <a:tbl>
              <a:tblPr firstRow="1" bandRow="1">
                <a:tableStyleId>{5C22544A-7EE6-4342-B048-85BDC9FD1C3A}</a:tableStyleId>
              </a:tblPr>
              <a:tblGrid>
                <a:gridCol w="2391116">
                  <a:extLst>
                    <a:ext uri="{9D8B030D-6E8A-4147-A177-3AD203B41FA5}">
                      <a16:colId xmlns:a16="http://schemas.microsoft.com/office/drawing/2014/main" val="4077866235"/>
                    </a:ext>
                  </a:extLst>
                </a:gridCol>
                <a:gridCol w="987372">
                  <a:extLst>
                    <a:ext uri="{9D8B030D-6E8A-4147-A177-3AD203B41FA5}">
                      <a16:colId xmlns:a16="http://schemas.microsoft.com/office/drawing/2014/main" val="4058889142"/>
                    </a:ext>
                  </a:extLst>
                </a:gridCol>
                <a:gridCol w="1197321">
                  <a:extLst>
                    <a:ext uri="{9D8B030D-6E8A-4147-A177-3AD203B41FA5}">
                      <a16:colId xmlns:a16="http://schemas.microsoft.com/office/drawing/2014/main" val="689100895"/>
                    </a:ext>
                  </a:extLst>
                </a:gridCol>
                <a:gridCol w="1064287">
                  <a:extLst>
                    <a:ext uri="{9D8B030D-6E8A-4147-A177-3AD203B41FA5}">
                      <a16:colId xmlns:a16="http://schemas.microsoft.com/office/drawing/2014/main" val="3633920082"/>
                    </a:ext>
                  </a:extLst>
                </a:gridCol>
              </a:tblGrid>
              <a:tr h="0">
                <a:tc>
                  <a:txBody>
                    <a:bodyPr/>
                    <a:lstStyle/>
                    <a:p>
                      <a:pPr algn="ctr"/>
                      <a:endParaRPr lang="en-IN" sz="700" b="0" dirty="0"/>
                    </a:p>
                  </a:txBody>
                  <a:tcPr>
                    <a:lnL w="6350" cap="flat" cmpd="sng" algn="ctr">
                      <a:noFill/>
                      <a:prstDash val="solid"/>
                      <a:round/>
                      <a:headEnd type="none" w="med" len="med"/>
                      <a:tailEnd type="none" w="med" len="med"/>
                    </a:lnL>
                    <a:lnR w="12700" cmpd="sng">
                      <a:noFill/>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a:r>
                        <a:rPr lang="en-US" sz="700" b="1" dirty="0"/>
                        <a:t>Impact on demand across locations</a:t>
                      </a:r>
                    </a:p>
                  </a:txBody>
                  <a:tcPr>
                    <a:lnL w="12700" cmpd="sng">
                      <a:noFill/>
                    </a:lnL>
                    <a:lnR w="635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a:endParaRPr lang="en-IN" sz="1200" b="0"/>
                    </a:p>
                  </a:txBody>
                  <a:tcPr>
                    <a:lnR w="6350" cap="flat" cmpd="sng" algn="ctr">
                      <a:solidFill>
                        <a:schemeClr val="accent3">
                          <a:lumMod val="50000"/>
                        </a:schemeClr>
                      </a:solidFill>
                      <a:prstDash val="solid"/>
                      <a:round/>
                      <a:headEnd type="none" w="med" len="med"/>
                      <a:tailEnd type="none" w="med" len="med"/>
                    </a:lnR>
                    <a:solidFill>
                      <a:schemeClr val="accent5"/>
                    </a:solidFill>
                  </a:tcPr>
                </a:tc>
                <a:tc hMerge="1">
                  <a:txBody>
                    <a:bodyPr/>
                    <a:lstStyle/>
                    <a:p>
                      <a:pPr algn="ctr"/>
                      <a:endParaRPr lang="en-IN" sz="1200" b="0"/>
                    </a:p>
                  </a:txBody>
                  <a:tcPr>
                    <a:lnL w="6350" cap="flat" cmpd="sng" algn="ctr">
                      <a:solidFill>
                        <a:schemeClr val="accent3">
                          <a:lumMod val="50000"/>
                        </a:schemeClr>
                      </a:solidFill>
                      <a:prstDash val="solid"/>
                      <a:round/>
                      <a:headEnd type="none" w="med" len="med"/>
                      <a:tailEnd type="none" w="med" len="med"/>
                    </a:lnL>
                    <a:lnR w="6350" cap="flat" cmpd="sng" algn="ctr">
                      <a:solidFill>
                        <a:schemeClr val="accent3">
                          <a:lumMod val="50000"/>
                        </a:schemeClr>
                      </a:solidFill>
                      <a:prstDash val="solid"/>
                      <a:round/>
                      <a:headEnd type="none" w="med" len="med"/>
                      <a:tailEnd type="none" w="med" len="med"/>
                    </a:lnR>
                    <a:solidFill>
                      <a:schemeClr val="accent3">
                        <a:lumMod val="50000"/>
                      </a:schemeClr>
                    </a:solidFill>
                  </a:tcPr>
                </a:tc>
                <a:extLst>
                  <a:ext uri="{0D108BD9-81ED-4DB2-BD59-A6C34878D82A}">
                    <a16:rowId xmlns:a16="http://schemas.microsoft.com/office/drawing/2014/main" val="831703749"/>
                  </a:ext>
                </a:extLst>
              </a:tr>
              <a:tr h="178000">
                <a:tc>
                  <a:txBody>
                    <a:bodyPr/>
                    <a:lstStyle/>
                    <a:p>
                      <a:pPr algn="l"/>
                      <a:r>
                        <a:rPr lang="en-US" sz="700" b="0" dirty="0">
                          <a:solidFill>
                            <a:schemeClr val="bg1"/>
                          </a:solidFill>
                        </a:rPr>
                        <a:t>Key factors driving future location strategy</a:t>
                      </a:r>
                    </a:p>
                  </a:txBody>
                  <a:tcPr marL="108000" marR="90000">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dash"/>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algn="ctr"/>
                      <a:r>
                        <a:rPr lang="en-IN" sz="700" b="0" dirty="0">
                          <a:solidFill>
                            <a:schemeClr val="bg1"/>
                          </a:solidFill>
                        </a:rPr>
                        <a:t>Offshore location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dash"/>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IN" sz="700" b="0" dirty="0">
                          <a:solidFill>
                            <a:schemeClr val="bg1"/>
                          </a:solidFill>
                        </a:rPr>
                        <a:t>Nearshore location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dash"/>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IN" sz="700" b="0" dirty="0">
                          <a:solidFill>
                            <a:schemeClr val="bg1"/>
                          </a:solidFill>
                        </a:rPr>
                        <a:t>Onshore locations</a:t>
                      </a:r>
                    </a:p>
                  </a:txBody>
                  <a:tcP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dash"/>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2813481027"/>
                  </a:ext>
                </a:extLst>
              </a:tr>
              <a:tr h="191692">
                <a:tc>
                  <a:txBody>
                    <a:bodyPr/>
                    <a:lstStyle/>
                    <a:p>
                      <a:pPr marL="71755" marR="0" lvl="1" indent="0" algn="l" rtl="0" fontAlgn="base" latinLnBrk="0">
                        <a:lnSpc>
                          <a:spcPct val="100000"/>
                        </a:lnSpc>
                        <a:spcBef>
                          <a:spcPts val="0"/>
                        </a:spcBef>
                        <a:spcAft>
                          <a:spcPts val="0"/>
                        </a:spcAft>
                        <a:buFont typeface="Wingdings" pitchFamily="2" charset="2"/>
                        <a:buNone/>
                      </a:pPr>
                      <a:r>
                        <a:rPr lang="en-IN" sz="700" b="0" kern="1200" dirty="0">
                          <a:solidFill>
                            <a:schemeClr val="tx1"/>
                          </a:solidFill>
                          <a:latin typeface="+mn-lt"/>
                          <a:ea typeface="+mn-ea"/>
                          <a:cs typeface="Arial"/>
                        </a:rPr>
                        <a:t>Rising cost pressures </a:t>
                      </a:r>
                    </a:p>
                  </a:txBody>
                  <a:tcPr marL="36000" marR="36000"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algn="l">
                        <a:spcAft>
                          <a:spcPts val="600"/>
                        </a:spcAft>
                      </a:pPr>
                      <a:endParaRPr lang="en-US" sz="800" b="1" dirty="0"/>
                    </a:p>
                  </a:txBody>
                  <a:tcPr marL="108000">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IN" sz="800" kern="0" dirty="0">
                        <a:solidFill>
                          <a:srgbClr val="3F3F3F"/>
                        </a:solidFill>
                      </a:endParaRPr>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US" sz="800" kern="0" dirty="0"/>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no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3641183654"/>
                  </a:ext>
                </a:extLst>
              </a:tr>
              <a:tr h="191692">
                <a:tc>
                  <a:txBody>
                    <a:bodyPr/>
                    <a:lstStyle/>
                    <a:p>
                      <a:pPr marL="71755" marR="0" lvl="1" indent="0" algn="l" rtl="0" eaLnBrk="1" fontAlgn="base" latinLnBrk="0" hangingPunct="1">
                        <a:lnSpc>
                          <a:spcPct val="100000"/>
                        </a:lnSpc>
                        <a:spcBef>
                          <a:spcPts val="0"/>
                        </a:spcBef>
                        <a:spcAft>
                          <a:spcPts val="0"/>
                        </a:spcAft>
                        <a:buFont typeface="Wingdings" pitchFamily="2" charset="2"/>
                        <a:buNone/>
                      </a:pPr>
                      <a:r>
                        <a:rPr lang="en-IN" sz="700" b="0" kern="1200" dirty="0">
                          <a:solidFill>
                            <a:schemeClr val="tx1"/>
                          </a:solidFill>
                          <a:latin typeface="+mn-lt"/>
                          <a:ea typeface="+mn-ea"/>
                          <a:cs typeface="Arial"/>
                        </a:rPr>
                        <a:t>Accelerated digital adoption</a:t>
                      </a:r>
                      <a:endParaRPr lang="en-US" sz="700" b="0" dirty="0">
                        <a:latin typeface="+mn-lt"/>
                      </a:endParaRPr>
                    </a:p>
                  </a:txBody>
                  <a:tcPr marL="36000" marR="36000"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algn="l">
                        <a:spcAft>
                          <a:spcPts val="600"/>
                        </a:spcAft>
                      </a:pPr>
                      <a:endParaRPr lang="en-US" sz="800" b="1" dirty="0"/>
                    </a:p>
                  </a:txBody>
                  <a:tcPr marL="108000">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IN" sz="800" kern="0" dirty="0">
                        <a:solidFill>
                          <a:srgbClr val="3F3F3F"/>
                        </a:solidFill>
                      </a:endParaRPr>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US" sz="800" kern="0" dirty="0"/>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060362058"/>
                  </a:ext>
                </a:extLst>
              </a:tr>
              <a:tr h="191692">
                <a:tc>
                  <a:txBody>
                    <a:bodyPr/>
                    <a:lstStyle/>
                    <a:p>
                      <a:pPr marL="71755" lvl="1" algn="l">
                        <a:spcBef>
                          <a:spcPts val="0"/>
                        </a:spcBef>
                        <a:spcAft>
                          <a:spcPts val="0"/>
                        </a:spcAft>
                      </a:pPr>
                      <a:r>
                        <a:rPr lang="en-US" sz="700" b="0" dirty="0">
                          <a:solidFill>
                            <a:schemeClr val="tx1"/>
                          </a:solidFill>
                          <a:latin typeface="+mn-lt"/>
                        </a:rPr>
                        <a:t>Focus on </a:t>
                      </a:r>
                      <a:r>
                        <a:rPr lang="en-US" sz="700" b="0" kern="1200" dirty="0">
                          <a:solidFill>
                            <a:schemeClr val="tx1"/>
                          </a:solidFill>
                          <a:latin typeface="+mn-lt"/>
                          <a:ea typeface="+mn-ea"/>
                          <a:cs typeface="Arial"/>
                        </a:rPr>
                        <a:t>BCP and resilience </a:t>
                      </a:r>
                    </a:p>
                  </a:txBody>
                  <a:tcPr marL="36000" marR="36000"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algn="l">
                        <a:spcAft>
                          <a:spcPts val="600"/>
                        </a:spcAft>
                      </a:pPr>
                      <a:endParaRPr lang="en-US" sz="800" b="1" dirty="0"/>
                    </a:p>
                  </a:txBody>
                  <a:tcPr marL="108000">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IN" sz="800" kern="0" dirty="0">
                        <a:solidFill>
                          <a:srgbClr val="3F3F3F"/>
                        </a:solidFill>
                      </a:endParaRPr>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US" sz="800" kern="0" dirty="0"/>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2055158223"/>
                  </a:ext>
                </a:extLst>
              </a:tr>
              <a:tr h="273846">
                <a:tc>
                  <a:txBody>
                    <a:bodyPr/>
                    <a:lstStyle/>
                    <a:p>
                      <a:pPr marL="71755" marR="0" lvl="1" indent="0" algn="l" defTabSz="914400" rtl="0" fontAlgn="base" latinLnBrk="0">
                        <a:lnSpc>
                          <a:spcPct val="100000"/>
                        </a:lnSpc>
                        <a:spcBef>
                          <a:spcPts val="0"/>
                        </a:spcBef>
                        <a:spcAft>
                          <a:spcPts val="0"/>
                        </a:spcAft>
                        <a:buClr>
                          <a:schemeClr val="accent2"/>
                        </a:buClr>
                        <a:buSzPct val="70000"/>
                        <a:buFont typeface="Wingdings" pitchFamily="2" charset="2"/>
                        <a:buNone/>
                        <a:tabLst/>
                      </a:pPr>
                      <a:r>
                        <a:rPr lang="en-IN" sz="700" b="0" kern="1200" dirty="0">
                          <a:solidFill>
                            <a:schemeClr val="tx1"/>
                          </a:solidFill>
                          <a:latin typeface="+mn-lt"/>
                          <a:ea typeface="+mn-ea"/>
                          <a:cs typeface="Arial"/>
                        </a:rPr>
                        <a:t>Greater demand for complex skills (digital and next-generation IT)</a:t>
                      </a:r>
                    </a:p>
                  </a:txBody>
                  <a:tcPr marL="36000" marR="36000"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algn="l">
                        <a:spcAft>
                          <a:spcPts val="600"/>
                        </a:spcAft>
                      </a:pPr>
                      <a:endParaRPr lang="en-US" sz="800" b="1" dirty="0"/>
                    </a:p>
                  </a:txBody>
                  <a:tcPr marL="108000">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IN" sz="800" kern="0" dirty="0">
                        <a:solidFill>
                          <a:srgbClr val="3F3F3F"/>
                        </a:solidFill>
                      </a:endParaRPr>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US" sz="800" kern="0" dirty="0"/>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206427599"/>
                  </a:ext>
                </a:extLst>
              </a:tr>
              <a:tr h="273846">
                <a:tc>
                  <a:txBody>
                    <a:bodyPr/>
                    <a:lstStyle/>
                    <a:p>
                      <a:pPr marL="71755" marR="0" lvl="1" indent="0" algn="l" defTabSz="914400" rtl="0" eaLnBrk="1" fontAlgn="base" latinLnBrk="0" hangingPunct="1">
                        <a:lnSpc>
                          <a:spcPct val="100000"/>
                        </a:lnSpc>
                        <a:spcBef>
                          <a:spcPts val="0"/>
                        </a:spcBef>
                        <a:spcAft>
                          <a:spcPts val="0"/>
                        </a:spcAft>
                        <a:buClr>
                          <a:schemeClr val="accent2"/>
                        </a:buClr>
                        <a:buSzPct val="70000"/>
                        <a:buFont typeface="Wingdings" pitchFamily="2" charset="2"/>
                        <a:buNone/>
                        <a:tabLst/>
                        <a:defRPr/>
                      </a:pPr>
                      <a:r>
                        <a:rPr lang="en-IN" sz="700" b="0" kern="1200" dirty="0">
                          <a:solidFill>
                            <a:schemeClr val="tx1"/>
                          </a:solidFill>
                          <a:latin typeface="+mn-lt"/>
                          <a:ea typeface="+mn-ea"/>
                          <a:cs typeface="Arial"/>
                        </a:rPr>
                        <a:t>Higher adoption of alternative working models </a:t>
                      </a:r>
                      <a:br>
                        <a:rPr lang="en-IN" sz="700" b="0" kern="1200" dirty="0">
                          <a:solidFill>
                            <a:schemeClr val="tx1"/>
                          </a:solidFill>
                          <a:latin typeface="+mn-lt"/>
                          <a:ea typeface="+mn-ea"/>
                          <a:cs typeface="Arial"/>
                        </a:rPr>
                      </a:br>
                      <a:r>
                        <a:rPr lang="en-IN" sz="700" b="0" kern="1200" dirty="0">
                          <a:solidFill>
                            <a:schemeClr val="tx1"/>
                          </a:solidFill>
                          <a:latin typeface="+mn-lt"/>
                          <a:ea typeface="+mn-ea"/>
                          <a:cs typeface="Arial"/>
                        </a:rPr>
                        <a:t>(WFH, freelancers, and office pods)</a:t>
                      </a:r>
                    </a:p>
                  </a:txBody>
                  <a:tcPr marL="36000" marR="36000"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algn="l">
                        <a:spcAft>
                          <a:spcPts val="600"/>
                        </a:spcAft>
                      </a:pPr>
                      <a:endParaRPr lang="en-US" sz="800" b="1" dirty="0"/>
                    </a:p>
                  </a:txBody>
                  <a:tcPr marL="108000">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IN" sz="800" kern="0" dirty="0">
                        <a:solidFill>
                          <a:srgbClr val="3F3F3F"/>
                        </a:solidFill>
                      </a:endParaRPr>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US" sz="800" kern="0" dirty="0"/>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1533119435"/>
                  </a:ext>
                </a:extLst>
              </a:tr>
              <a:tr h="273846">
                <a:tc>
                  <a:txBody>
                    <a:bodyPr/>
                    <a:lstStyle/>
                    <a:p>
                      <a:pPr marL="71755" marR="0" lvl="1" indent="0" algn="l" rtl="0" eaLnBrk="1" fontAlgn="base" latinLnBrk="0" hangingPunct="1">
                        <a:lnSpc>
                          <a:spcPct val="100000"/>
                        </a:lnSpc>
                        <a:spcBef>
                          <a:spcPts val="0"/>
                        </a:spcBef>
                        <a:spcAft>
                          <a:spcPts val="0"/>
                        </a:spcAft>
                        <a:buFont typeface="Wingdings" pitchFamily="2" charset="2"/>
                        <a:buNone/>
                      </a:pPr>
                      <a:r>
                        <a:rPr lang="en-US" sz="700" b="0" kern="1200" dirty="0">
                          <a:solidFill>
                            <a:schemeClr val="tx1"/>
                          </a:solidFill>
                          <a:latin typeface="+mn-lt"/>
                          <a:ea typeface="+mn-ea"/>
                          <a:cs typeface="Arial"/>
                        </a:rPr>
                        <a:t>Rising unemployment and protectionist sentiments </a:t>
                      </a:r>
                      <a:br>
                        <a:rPr lang="en-US" sz="700" b="0" kern="1200" dirty="0">
                          <a:solidFill>
                            <a:schemeClr val="tx1"/>
                          </a:solidFill>
                          <a:latin typeface="+mn-lt"/>
                          <a:ea typeface="+mn-ea"/>
                          <a:cs typeface="Arial"/>
                        </a:rPr>
                      </a:br>
                      <a:r>
                        <a:rPr lang="en-US" sz="700" b="0" kern="1200" dirty="0">
                          <a:solidFill>
                            <a:schemeClr val="tx1"/>
                          </a:solidFill>
                          <a:latin typeface="+mn-lt"/>
                          <a:ea typeface="+mn-ea"/>
                          <a:cs typeface="Arial"/>
                        </a:rPr>
                        <a:t>in source geographies</a:t>
                      </a:r>
                      <a:endParaRPr lang="en-IN" sz="700" b="0" kern="1200" dirty="0">
                        <a:solidFill>
                          <a:schemeClr val="tx1"/>
                        </a:solidFill>
                        <a:latin typeface="+mn-lt"/>
                        <a:ea typeface="+mn-ea"/>
                        <a:cs typeface="Arial"/>
                      </a:endParaRPr>
                    </a:p>
                  </a:txBody>
                  <a:tcPr marL="36000" marR="36000" anchor="ct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algn="l">
                        <a:spcAft>
                          <a:spcPts val="600"/>
                        </a:spcAft>
                      </a:pPr>
                      <a:endParaRPr lang="en-US" sz="800" b="1" dirty="0"/>
                    </a:p>
                  </a:txBody>
                  <a:tcPr marL="108000">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IN" sz="800" kern="0" dirty="0">
                        <a:solidFill>
                          <a:srgbClr val="3F3F3F"/>
                        </a:solidFill>
                      </a:endParaRPr>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tc>
                  <a:txBody>
                    <a:bodyPr/>
                    <a:lstStyle/>
                    <a:p>
                      <a:pPr marL="126000" lvl="1" indent="-126000" defTabSz="914400" eaLnBrk="1" fontAlgn="auto" hangingPunct="1">
                        <a:spcBef>
                          <a:spcPts val="0"/>
                        </a:spcBef>
                        <a:spcAft>
                          <a:spcPts val="300"/>
                        </a:spcAft>
                        <a:buClr>
                          <a:srgbClr val="005A8C"/>
                        </a:buClr>
                        <a:buSzPct val="70000"/>
                        <a:buFont typeface="Wingdings" pitchFamily="2" charset="2"/>
                        <a:buChar char="l"/>
                        <a:defRPr/>
                      </a:pPr>
                      <a:endParaRPr lang="en-US" sz="800" kern="0" dirty="0"/>
                    </a:p>
                  </a:txBody>
                  <a:tcPr>
                    <a:lnL w="3175" cap="flat" cmpd="sng" algn="ctr">
                      <a:solidFill>
                        <a:schemeClr val="bg1">
                          <a:lumMod val="75000"/>
                        </a:schemeClr>
                      </a:solidFill>
                      <a:prstDash val="dash"/>
                      <a:round/>
                      <a:headEnd type="none" w="med" len="med"/>
                      <a:tailEnd type="none" w="med" len="med"/>
                    </a:lnL>
                    <a:lnR w="3175" cap="flat" cmpd="sng" algn="ctr">
                      <a:solidFill>
                        <a:schemeClr val="bg1">
                          <a:lumMod val="75000"/>
                        </a:schemeClr>
                      </a:solidFill>
                      <a:prstDash val="dash"/>
                      <a:round/>
                      <a:headEnd type="none" w="med" len="med"/>
                      <a:tailEnd type="none" w="med" len="med"/>
                    </a:lnR>
                    <a:lnT w="3175" cap="flat" cmpd="sng" algn="ctr">
                      <a:solidFill>
                        <a:schemeClr val="bg1">
                          <a:lumMod val="75000"/>
                        </a:schemeClr>
                      </a:solidFill>
                      <a:prstDash val="dash"/>
                      <a:round/>
                      <a:headEnd type="none" w="med" len="med"/>
                      <a:tailEnd type="none" w="med" len="med"/>
                    </a:lnT>
                    <a:lnB w="3175" cap="flat" cmpd="sng" algn="ctr">
                      <a:solidFill>
                        <a:schemeClr val="bg1">
                          <a:lumMod val="75000"/>
                        </a:schemeClr>
                      </a:solidFill>
                      <a:prstDash val="dash"/>
                      <a:round/>
                      <a:headEnd type="none" w="med" len="med"/>
                      <a:tailEnd type="none" w="med" len="med"/>
                    </a:lnB>
                    <a:noFill/>
                  </a:tcPr>
                </a:tc>
                <a:extLst>
                  <a:ext uri="{0D108BD9-81ED-4DB2-BD59-A6C34878D82A}">
                    <a16:rowId xmlns:a16="http://schemas.microsoft.com/office/drawing/2014/main" val="2348125221"/>
                  </a:ext>
                </a:extLst>
              </a:tr>
            </a:tbl>
          </a:graphicData>
        </a:graphic>
      </p:graphicFrame>
      <p:sp>
        <p:nvSpPr>
          <p:cNvPr id="392" name="Rounded Rectangle 77">
            <a:extLst>
              <a:ext uri="{FF2B5EF4-FFF2-40B4-BE49-F238E27FC236}">
                <a16:creationId xmlns:a16="http://schemas.microsoft.com/office/drawing/2014/main" id="{E9E6419D-4554-45B1-A86F-A9D69B368668}"/>
              </a:ext>
            </a:extLst>
          </p:cNvPr>
          <p:cNvSpPr>
            <a:spLocks noChangeArrowheads="1"/>
          </p:cNvSpPr>
          <p:nvPr/>
        </p:nvSpPr>
        <p:spPr bwMode="auto">
          <a:xfrm>
            <a:off x="10007425" y="1922964"/>
            <a:ext cx="155448" cy="73152"/>
          </a:xfrm>
          <a:prstGeom prst="roundRect">
            <a:avLst>
              <a:gd name="adj" fmla="val 16667"/>
            </a:avLst>
          </a:prstGeom>
          <a:solidFill>
            <a:schemeClr val="tx2"/>
          </a:solidFill>
          <a:ln w="6350" algn="ctr">
            <a:noFill/>
            <a:miter lim="800000"/>
            <a:headEnd/>
            <a:tailEnd/>
          </a:ln>
        </p:spPr>
        <p:txBody>
          <a:bodyPr vert="horz" wrap="none" lIns="0" tIns="0" rIns="0" bIns="0" anchor="ctr" anchorCtr="0"/>
          <a:lstStyle/>
          <a:p>
            <a:pPr marL="304800" marR="0" lvl="0" indent="-304800" algn="ctr" defTabSz="914400" rtl="0" eaLnBrk="0" fontAlgn="base" latinLnBrk="0" hangingPunct="0">
              <a:lnSpc>
                <a:spcPct val="100000"/>
              </a:lnSpc>
              <a:spcBef>
                <a:spcPts val="0"/>
              </a:spcBef>
              <a:spcAft>
                <a:spcPct val="0"/>
              </a:spcAft>
              <a:buClr>
                <a:srgbClr val="0000FF"/>
              </a:buClr>
              <a:buSzPct val="60000"/>
              <a:buFontTx/>
              <a:buNone/>
              <a:tabLst/>
              <a:defRPr/>
            </a:pPr>
            <a:endParaRPr kumimoji="0" lang="en-US" sz="600" b="0" i="0" u="none" strike="noStrike" kern="1200" cap="none" spc="0" normalizeH="0" baseline="0" noProof="0" dirty="0">
              <a:ln>
                <a:noFill/>
              </a:ln>
              <a:solidFill>
                <a:srgbClr val="3F3F3F"/>
              </a:solidFill>
              <a:effectLst/>
              <a:uLnTx/>
              <a:uFillTx/>
              <a:latin typeface="+mn-lt"/>
              <a:ea typeface="+mn-ea"/>
              <a:cs typeface="Arial" charset="0"/>
            </a:endParaRPr>
          </a:p>
        </p:txBody>
      </p:sp>
      <p:sp>
        <p:nvSpPr>
          <p:cNvPr id="393" name="TextBox 76">
            <a:extLst>
              <a:ext uri="{FF2B5EF4-FFF2-40B4-BE49-F238E27FC236}">
                <a16:creationId xmlns:a16="http://schemas.microsoft.com/office/drawing/2014/main" id="{54B3F2DC-A990-4DCD-AC45-6F3FEFD93B9F}"/>
              </a:ext>
            </a:extLst>
          </p:cNvPr>
          <p:cNvSpPr txBox="1">
            <a:spLocks noChangeArrowheads="1"/>
          </p:cNvSpPr>
          <p:nvPr/>
        </p:nvSpPr>
        <p:spPr bwMode="auto">
          <a:xfrm>
            <a:off x="10120993" y="1912798"/>
            <a:ext cx="73442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52" tIns="0" rIns="137160" bIns="0" anchor="t">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lvl="0" eaLnBrk="1" hangingPunct="1">
              <a:defRPr/>
            </a:pPr>
            <a:r>
              <a:rPr lang="en-US" sz="600" dirty="0">
                <a:solidFill>
                  <a:srgbClr val="3F3F3F"/>
                </a:solidFill>
                <a:latin typeface="+mn-lt"/>
              </a:rPr>
              <a:t>Remain similar</a:t>
            </a:r>
          </a:p>
        </p:txBody>
      </p:sp>
      <p:sp>
        <p:nvSpPr>
          <p:cNvPr id="3" name="Title 2">
            <a:extLst>
              <a:ext uri="{FF2B5EF4-FFF2-40B4-BE49-F238E27FC236}">
                <a16:creationId xmlns:a16="http://schemas.microsoft.com/office/drawing/2014/main" id="{D076719E-B36E-40E3-97E8-E213435E2096}"/>
              </a:ext>
            </a:extLst>
          </p:cNvPr>
          <p:cNvSpPr>
            <a:spLocks noGrp="1"/>
          </p:cNvSpPr>
          <p:nvPr>
            <p:ph type="title"/>
          </p:nvPr>
        </p:nvSpPr>
        <p:spPr>
          <a:xfrm>
            <a:off x="307975" y="622777"/>
            <a:ext cx="11612880" cy="553998"/>
          </a:xfrm>
          <a:prstGeom prst="rect">
            <a:avLst/>
          </a:prstGeom>
        </p:spPr>
        <p:txBody>
          <a:bodyPr/>
          <a:lstStyle/>
          <a:p>
            <a:r>
              <a:rPr lang="en-US" dirty="0"/>
              <a:t>This study </a:t>
            </a:r>
            <a:r>
              <a:rPr lang="en-US" sz="1800" dirty="0"/>
              <a:t>aims to serve as a yardstick for enterprise decision-makers as they review their own outsourcing portfolio and practices</a:t>
            </a:r>
            <a:endParaRPr lang="en-US" dirty="0"/>
          </a:p>
        </p:txBody>
      </p:sp>
      <p:cxnSp>
        <p:nvCxnSpPr>
          <p:cNvPr id="328" name="Straight Connector 327">
            <a:extLst>
              <a:ext uri="{FF2B5EF4-FFF2-40B4-BE49-F238E27FC236}">
                <a16:creationId xmlns:a16="http://schemas.microsoft.com/office/drawing/2014/main" id="{73D4E607-4B4B-4F1B-A6E2-EC48AE13396D}"/>
              </a:ext>
            </a:extLst>
          </p:cNvPr>
          <p:cNvCxnSpPr>
            <a:cxnSpLocks/>
          </p:cNvCxnSpPr>
          <p:nvPr/>
        </p:nvCxnSpPr>
        <p:spPr>
          <a:xfrm flipH="1">
            <a:off x="4431932" y="3220127"/>
            <a:ext cx="334240" cy="0"/>
          </a:xfrm>
          <a:prstGeom prst="line">
            <a:avLst/>
          </a:prstGeom>
          <a:noFill/>
          <a:ln w="6350">
            <a:solidFill>
              <a:schemeClr val="bg2"/>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cxnSp>
      <p:grpSp>
        <p:nvGrpSpPr>
          <p:cNvPr id="329" name="Group 328">
            <a:extLst>
              <a:ext uri="{FF2B5EF4-FFF2-40B4-BE49-F238E27FC236}">
                <a16:creationId xmlns:a16="http://schemas.microsoft.com/office/drawing/2014/main" id="{9FC972B0-1F9C-4A96-B58E-01EF803FC3D1}"/>
              </a:ext>
            </a:extLst>
          </p:cNvPr>
          <p:cNvGrpSpPr/>
          <p:nvPr/>
        </p:nvGrpSpPr>
        <p:grpSpPr>
          <a:xfrm>
            <a:off x="1968105" y="2900987"/>
            <a:ext cx="548640" cy="638280"/>
            <a:chOff x="1565276" y="3641917"/>
            <a:chExt cx="1512887" cy="1749425"/>
          </a:xfrm>
        </p:grpSpPr>
        <p:sp>
          <p:nvSpPr>
            <p:cNvPr id="372" name="Freeform 13">
              <a:extLst>
                <a:ext uri="{FF2B5EF4-FFF2-40B4-BE49-F238E27FC236}">
                  <a16:creationId xmlns:a16="http://schemas.microsoft.com/office/drawing/2014/main" id="{2EDCBA93-C6EE-448D-864F-F15CF4652FB0}"/>
                </a:ext>
              </a:extLst>
            </p:cNvPr>
            <p:cNvSpPr>
              <a:spLocks/>
            </p:cNvSpPr>
            <p:nvPr/>
          </p:nvSpPr>
          <p:spPr bwMode="auto">
            <a:xfrm>
              <a:off x="2376488" y="3641917"/>
              <a:ext cx="701675" cy="1749425"/>
            </a:xfrm>
            <a:custGeom>
              <a:avLst/>
              <a:gdLst>
                <a:gd name="T0" fmla="*/ 0 w 442"/>
                <a:gd name="T1" fmla="*/ 0 h 1102"/>
                <a:gd name="T2" fmla="*/ 0 w 442"/>
                <a:gd name="T3" fmla="*/ 1102 h 1102"/>
                <a:gd name="T4" fmla="*/ 241 w 442"/>
                <a:gd name="T5" fmla="*/ 1102 h 1102"/>
                <a:gd name="T6" fmla="*/ 442 w 442"/>
                <a:gd name="T7" fmla="*/ 550 h 1102"/>
                <a:gd name="T8" fmla="*/ 239 w 442"/>
                <a:gd name="T9" fmla="*/ 0 h 1102"/>
                <a:gd name="T10" fmla="*/ 0 w 442"/>
                <a:gd name="T11" fmla="*/ 0 h 1102"/>
              </a:gdLst>
              <a:ahLst/>
              <a:cxnLst>
                <a:cxn ang="0">
                  <a:pos x="T0" y="T1"/>
                </a:cxn>
                <a:cxn ang="0">
                  <a:pos x="T2" y="T3"/>
                </a:cxn>
                <a:cxn ang="0">
                  <a:pos x="T4" y="T5"/>
                </a:cxn>
                <a:cxn ang="0">
                  <a:pos x="T6" y="T7"/>
                </a:cxn>
                <a:cxn ang="0">
                  <a:pos x="T8" y="T9"/>
                </a:cxn>
                <a:cxn ang="0">
                  <a:pos x="T10" y="T11"/>
                </a:cxn>
              </a:cxnLst>
              <a:rect l="0" t="0" r="r" b="b"/>
              <a:pathLst>
                <a:path w="442" h="1102">
                  <a:moveTo>
                    <a:pt x="0" y="0"/>
                  </a:moveTo>
                  <a:lnTo>
                    <a:pt x="0" y="1102"/>
                  </a:lnTo>
                  <a:lnTo>
                    <a:pt x="241" y="1102"/>
                  </a:lnTo>
                  <a:lnTo>
                    <a:pt x="442" y="550"/>
                  </a:lnTo>
                  <a:lnTo>
                    <a:pt x="239" y="0"/>
                  </a:lnTo>
                  <a:lnTo>
                    <a:pt x="0" y="0"/>
                  </a:lnTo>
                  <a:close/>
                </a:path>
              </a:pathLst>
            </a:custGeom>
            <a:solidFill>
              <a:schemeClr val="bg2">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73" name="Freeform 11">
              <a:extLst>
                <a:ext uri="{FF2B5EF4-FFF2-40B4-BE49-F238E27FC236}">
                  <a16:creationId xmlns:a16="http://schemas.microsoft.com/office/drawing/2014/main" id="{D824A119-B0B9-4B38-B67E-591BAA13DF2F}"/>
                </a:ext>
              </a:extLst>
            </p:cNvPr>
            <p:cNvSpPr>
              <a:spLocks/>
            </p:cNvSpPr>
            <p:nvPr/>
          </p:nvSpPr>
          <p:spPr bwMode="auto">
            <a:xfrm>
              <a:off x="1565276" y="4518217"/>
              <a:ext cx="1193800" cy="873125"/>
            </a:xfrm>
            <a:custGeom>
              <a:avLst/>
              <a:gdLst>
                <a:gd name="T0" fmla="*/ 752 w 752"/>
                <a:gd name="T1" fmla="*/ 550 h 550"/>
                <a:gd name="T2" fmla="*/ 319 w 752"/>
                <a:gd name="T3" fmla="*/ 550 h 550"/>
                <a:gd name="T4" fmla="*/ 0 w 752"/>
                <a:gd name="T5" fmla="*/ 0 h 550"/>
                <a:gd name="T6" fmla="*/ 532 w 752"/>
                <a:gd name="T7" fmla="*/ 0 h 550"/>
                <a:gd name="T8" fmla="*/ 752 w 752"/>
                <a:gd name="T9" fmla="*/ 550 h 550"/>
              </a:gdLst>
              <a:ahLst/>
              <a:cxnLst>
                <a:cxn ang="0">
                  <a:pos x="T0" y="T1"/>
                </a:cxn>
                <a:cxn ang="0">
                  <a:pos x="T2" y="T3"/>
                </a:cxn>
                <a:cxn ang="0">
                  <a:pos x="T4" y="T5"/>
                </a:cxn>
                <a:cxn ang="0">
                  <a:pos x="T6" y="T7"/>
                </a:cxn>
                <a:cxn ang="0">
                  <a:pos x="T8" y="T9"/>
                </a:cxn>
              </a:cxnLst>
              <a:rect l="0" t="0" r="r" b="b"/>
              <a:pathLst>
                <a:path w="752" h="550">
                  <a:moveTo>
                    <a:pt x="752" y="550"/>
                  </a:moveTo>
                  <a:lnTo>
                    <a:pt x="319" y="550"/>
                  </a:lnTo>
                  <a:lnTo>
                    <a:pt x="0" y="0"/>
                  </a:lnTo>
                  <a:lnTo>
                    <a:pt x="532" y="0"/>
                  </a:lnTo>
                  <a:lnTo>
                    <a:pt x="752" y="550"/>
                  </a:lnTo>
                  <a:close/>
                </a:path>
              </a:pathLst>
            </a:custGeom>
            <a:solidFill>
              <a:schemeClr val="bg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74" name="Freeform 12">
              <a:extLst>
                <a:ext uri="{FF2B5EF4-FFF2-40B4-BE49-F238E27FC236}">
                  <a16:creationId xmlns:a16="http://schemas.microsoft.com/office/drawing/2014/main" id="{10038ABE-6D6A-484D-BF8B-AAFE9EAD02E5}"/>
                </a:ext>
              </a:extLst>
            </p:cNvPr>
            <p:cNvSpPr>
              <a:spLocks/>
            </p:cNvSpPr>
            <p:nvPr/>
          </p:nvSpPr>
          <p:spPr bwMode="auto">
            <a:xfrm>
              <a:off x="1565276" y="3641917"/>
              <a:ext cx="1190625" cy="876300"/>
            </a:xfrm>
            <a:custGeom>
              <a:avLst/>
              <a:gdLst>
                <a:gd name="T0" fmla="*/ 750 w 750"/>
                <a:gd name="T1" fmla="*/ 0 h 552"/>
                <a:gd name="T2" fmla="*/ 326 w 750"/>
                <a:gd name="T3" fmla="*/ 0 h 552"/>
                <a:gd name="T4" fmla="*/ 0 w 750"/>
                <a:gd name="T5" fmla="*/ 552 h 552"/>
                <a:gd name="T6" fmla="*/ 532 w 750"/>
                <a:gd name="T7" fmla="*/ 552 h 552"/>
                <a:gd name="T8" fmla="*/ 750 w 750"/>
                <a:gd name="T9" fmla="*/ 0 h 552"/>
              </a:gdLst>
              <a:ahLst/>
              <a:cxnLst>
                <a:cxn ang="0">
                  <a:pos x="T0" y="T1"/>
                </a:cxn>
                <a:cxn ang="0">
                  <a:pos x="T2" y="T3"/>
                </a:cxn>
                <a:cxn ang="0">
                  <a:pos x="T4" y="T5"/>
                </a:cxn>
                <a:cxn ang="0">
                  <a:pos x="T6" y="T7"/>
                </a:cxn>
                <a:cxn ang="0">
                  <a:pos x="T8" y="T9"/>
                </a:cxn>
              </a:cxnLst>
              <a:rect l="0" t="0" r="r" b="b"/>
              <a:pathLst>
                <a:path w="750" h="552">
                  <a:moveTo>
                    <a:pt x="750" y="0"/>
                  </a:moveTo>
                  <a:lnTo>
                    <a:pt x="326" y="0"/>
                  </a:lnTo>
                  <a:lnTo>
                    <a:pt x="0" y="552"/>
                  </a:lnTo>
                  <a:lnTo>
                    <a:pt x="532" y="552"/>
                  </a:lnTo>
                  <a:lnTo>
                    <a:pt x="750" y="0"/>
                  </a:lnTo>
                  <a:close/>
                </a:path>
              </a:pathLst>
            </a:custGeom>
            <a:solidFill>
              <a:schemeClr val="bg2">
                <a:lumMod val="60000"/>
                <a:lumOff val="4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30" name="Group 329">
            <a:extLst>
              <a:ext uri="{FF2B5EF4-FFF2-40B4-BE49-F238E27FC236}">
                <a16:creationId xmlns:a16="http://schemas.microsoft.com/office/drawing/2014/main" id="{98048172-67FF-41B1-9B58-2E10802DF3DA}"/>
              </a:ext>
            </a:extLst>
          </p:cNvPr>
          <p:cNvGrpSpPr/>
          <p:nvPr/>
        </p:nvGrpSpPr>
        <p:grpSpPr>
          <a:xfrm>
            <a:off x="3882224" y="2900987"/>
            <a:ext cx="556419" cy="638280"/>
            <a:chOff x="6065838" y="3641917"/>
            <a:chExt cx="1541779" cy="1749425"/>
          </a:xfrm>
        </p:grpSpPr>
        <p:sp>
          <p:nvSpPr>
            <p:cNvPr id="369" name="Freeform 19">
              <a:extLst>
                <a:ext uri="{FF2B5EF4-FFF2-40B4-BE49-F238E27FC236}">
                  <a16:creationId xmlns:a16="http://schemas.microsoft.com/office/drawing/2014/main" id="{423A6CE5-0F4B-485D-9EBB-A0743AE796D4}"/>
                </a:ext>
              </a:extLst>
            </p:cNvPr>
            <p:cNvSpPr>
              <a:spLocks/>
            </p:cNvSpPr>
            <p:nvPr/>
          </p:nvSpPr>
          <p:spPr bwMode="auto">
            <a:xfrm>
              <a:off x="6065838" y="3641917"/>
              <a:ext cx="701675" cy="1749425"/>
            </a:xfrm>
            <a:custGeom>
              <a:avLst/>
              <a:gdLst>
                <a:gd name="T0" fmla="*/ 442 w 442"/>
                <a:gd name="T1" fmla="*/ 0 h 1102"/>
                <a:gd name="T2" fmla="*/ 442 w 442"/>
                <a:gd name="T3" fmla="*/ 1102 h 1102"/>
                <a:gd name="T4" fmla="*/ 203 w 442"/>
                <a:gd name="T5" fmla="*/ 1102 h 1102"/>
                <a:gd name="T6" fmla="*/ 0 w 442"/>
                <a:gd name="T7" fmla="*/ 550 h 1102"/>
                <a:gd name="T8" fmla="*/ 206 w 442"/>
                <a:gd name="T9" fmla="*/ 0 h 1102"/>
                <a:gd name="T10" fmla="*/ 442 w 442"/>
                <a:gd name="T11" fmla="*/ 0 h 1102"/>
              </a:gdLst>
              <a:ahLst/>
              <a:cxnLst>
                <a:cxn ang="0">
                  <a:pos x="T0" y="T1"/>
                </a:cxn>
                <a:cxn ang="0">
                  <a:pos x="T2" y="T3"/>
                </a:cxn>
                <a:cxn ang="0">
                  <a:pos x="T4" y="T5"/>
                </a:cxn>
                <a:cxn ang="0">
                  <a:pos x="T6" y="T7"/>
                </a:cxn>
                <a:cxn ang="0">
                  <a:pos x="T8" y="T9"/>
                </a:cxn>
                <a:cxn ang="0">
                  <a:pos x="T10" y="T11"/>
                </a:cxn>
              </a:cxnLst>
              <a:rect l="0" t="0" r="r" b="b"/>
              <a:pathLst>
                <a:path w="442" h="1102">
                  <a:moveTo>
                    <a:pt x="442" y="0"/>
                  </a:moveTo>
                  <a:lnTo>
                    <a:pt x="442" y="1102"/>
                  </a:lnTo>
                  <a:lnTo>
                    <a:pt x="203" y="1102"/>
                  </a:lnTo>
                  <a:lnTo>
                    <a:pt x="0" y="550"/>
                  </a:lnTo>
                  <a:lnTo>
                    <a:pt x="206" y="0"/>
                  </a:lnTo>
                  <a:lnTo>
                    <a:pt x="442" y="0"/>
                  </a:lnTo>
                  <a:close/>
                </a:path>
              </a:pathLst>
            </a:custGeom>
            <a:solidFill>
              <a:schemeClr val="bg2">
                <a:lumMod val="5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70" name="Freeform 17">
              <a:extLst>
                <a:ext uri="{FF2B5EF4-FFF2-40B4-BE49-F238E27FC236}">
                  <a16:creationId xmlns:a16="http://schemas.microsoft.com/office/drawing/2014/main" id="{48F2C6C6-2D85-4EDC-875B-858D44D0BD37}"/>
                </a:ext>
              </a:extLst>
            </p:cNvPr>
            <p:cNvSpPr>
              <a:spLocks/>
            </p:cNvSpPr>
            <p:nvPr/>
          </p:nvSpPr>
          <p:spPr bwMode="auto">
            <a:xfrm>
              <a:off x="6392262" y="4518217"/>
              <a:ext cx="1193800" cy="873125"/>
            </a:xfrm>
            <a:custGeom>
              <a:avLst/>
              <a:gdLst>
                <a:gd name="T0" fmla="*/ 0 w 752"/>
                <a:gd name="T1" fmla="*/ 550 h 550"/>
                <a:gd name="T2" fmla="*/ 433 w 752"/>
                <a:gd name="T3" fmla="*/ 550 h 550"/>
                <a:gd name="T4" fmla="*/ 752 w 752"/>
                <a:gd name="T5" fmla="*/ 0 h 550"/>
                <a:gd name="T6" fmla="*/ 220 w 752"/>
                <a:gd name="T7" fmla="*/ 0 h 550"/>
                <a:gd name="T8" fmla="*/ 0 w 752"/>
                <a:gd name="T9" fmla="*/ 550 h 550"/>
              </a:gdLst>
              <a:ahLst/>
              <a:cxnLst>
                <a:cxn ang="0">
                  <a:pos x="T0" y="T1"/>
                </a:cxn>
                <a:cxn ang="0">
                  <a:pos x="T2" y="T3"/>
                </a:cxn>
                <a:cxn ang="0">
                  <a:pos x="T4" y="T5"/>
                </a:cxn>
                <a:cxn ang="0">
                  <a:pos x="T6" y="T7"/>
                </a:cxn>
                <a:cxn ang="0">
                  <a:pos x="T8" y="T9"/>
                </a:cxn>
              </a:cxnLst>
              <a:rect l="0" t="0" r="r" b="b"/>
              <a:pathLst>
                <a:path w="752" h="550">
                  <a:moveTo>
                    <a:pt x="0" y="550"/>
                  </a:moveTo>
                  <a:lnTo>
                    <a:pt x="433" y="550"/>
                  </a:lnTo>
                  <a:lnTo>
                    <a:pt x="752" y="0"/>
                  </a:lnTo>
                  <a:lnTo>
                    <a:pt x="220" y="0"/>
                  </a:lnTo>
                  <a:lnTo>
                    <a:pt x="0" y="550"/>
                  </a:lnTo>
                  <a:close/>
                </a:path>
              </a:pathLst>
            </a:custGeom>
            <a:solidFill>
              <a:schemeClr val="bg2">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71" name="Freeform 18">
              <a:extLst>
                <a:ext uri="{FF2B5EF4-FFF2-40B4-BE49-F238E27FC236}">
                  <a16:creationId xmlns:a16="http://schemas.microsoft.com/office/drawing/2014/main" id="{C67EA729-8E79-4730-8CE7-A0B45F1BBCB7}"/>
                </a:ext>
              </a:extLst>
            </p:cNvPr>
            <p:cNvSpPr>
              <a:spLocks/>
            </p:cNvSpPr>
            <p:nvPr/>
          </p:nvSpPr>
          <p:spPr bwMode="auto">
            <a:xfrm>
              <a:off x="6416991" y="3641917"/>
              <a:ext cx="1190626" cy="876299"/>
            </a:xfrm>
            <a:custGeom>
              <a:avLst/>
              <a:gdLst>
                <a:gd name="T0" fmla="*/ 0 w 750"/>
                <a:gd name="T1" fmla="*/ 0 h 552"/>
                <a:gd name="T2" fmla="*/ 423 w 750"/>
                <a:gd name="T3" fmla="*/ 0 h 552"/>
                <a:gd name="T4" fmla="*/ 750 w 750"/>
                <a:gd name="T5" fmla="*/ 552 h 552"/>
                <a:gd name="T6" fmla="*/ 217 w 750"/>
                <a:gd name="T7" fmla="*/ 552 h 552"/>
                <a:gd name="T8" fmla="*/ 0 w 750"/>
                <a:gd name="T9" fmla="*/ 0 h 552"/>
              </a:gdLst>
              <a:ahLst/>
              <a:cxnLst>
                <a:cxn ang="0">
                  <a:pos x="T0" y="T1"/>
                </a:cxn>
                <a:cxn ang="0">
                  <a:pos x="T2" y="T3"/>
                </a:cxn>
                <a:cxn ang="0">
                  <a:pos x="T4" y="T5"/>
                </a:cxn>
                <a:cxn ang="0">
                  <a:pos x="T6" y="T7"/>
                </a:cxn>
                <a:cxn ang="0">
                  <a:pos x="T8" y="T9"/>
                </a:cxn>
              </a:cxnLst>
              <a:rect l="0" t="0" r="r" b="b"/>
              <a:pathLst>
                <a:path w="750" h="552">
                  <a:moveTo>
                    <a:pt x="0" y="0"/>
                  </a:moveTo>
                  <a:lnTo>
                    <a:pt x="423" y="0"/>
                  </a:lnTo>
                  <a:lnTo>
                    <a:pt x="750" y="552"/>
                  </a:lnTo>
                  <a:lnTo>
                    <a:pt x="217" y="552"/>
                  </a:lnTo>
                  <a:lnTo>
                    <a:pt x="0" y="0"/>
                  </a:lnTo>
                  <a:close/>
                </a:path>
              </a:pathLst>
            </a:custGeom>
            <a:solidFill>
              <a:schemeClr val="bg2">
                <a:lumMod val="9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31" name="Group 330">
            <a:extLst>
              <a:ext uri="{FF2B5EF4-FFF2-40B4-BE49-F238E27FC236}">
                <a16:creationId xmlns:a16="http://schemas.microsoft.com/office/drawing/2014/main" id="{4634B6BA-E26D-44E3-B1E7-34FB48B36669}"/>
              </a:ext>
            </a:extLst>
          </p:cNvPr>
          <p:cNvGrpSpPr/>
          <p:nvPr/>
        </p:nvGrpSpPr>
        <p:grpSpPr>
          <a:xfrm>
            <a:off x="2369735" y="2712530"/>
            <a:ext cx="618354" cy="1015773"/>
            <a:chOff x="2722563" y="3089467"/>
            <a:chExt cx="1366838" cy="2855913"/>
          </a:xfrm>
        </p:grpSpPr>
        <p:sp>
          <p:nvSpPr>
            <p:cNvPr id="366" name="Freeform 10">
              <a:extLst>
                <a:ext uri="{FF2B5EF4-FFF2-40B4-BE49-F238E27FC236}">
                  <a16:creationId xmlns:a16="http://schemas.microsoft.com/office/drawing/2014/main" id="{0B8D5A84-73CF-43EB-A23D-79600DD4205B}"/>
                </a:ext>
              </a:extLst>
            </p:cNvPr>
            <p:cNvSpPr>
              <a:spLocks/>
            </p:cNvSpPr>
            <p:nvPr/>
          </p:nvSpPr>
          <p:spPr bwMode="auto">
            <a:xfrm>
              <a:off x="3589338" y="3089467"/>
              <a:ext cx="500063" cy="2855913"/>
            </a:xfrm>
            <a:custGeom>
              <a:avLst/>
              <a:gdLst>
                <a:gd name="T0" fmla="*/ 0 w 315"/>
                <a:gd name="T1" fmla="*/ 0 h 1799"/>
                <a:gd name="T2" fmla="*/ 0 w 315"/>
                <a:gd name="T3" fmla="*/ 1799 h 1799"/>
                <a:gd name="T4" fmla="*/ 185 w 315"/>
                <a:gd name="T5" fmla="*/ 1799 h 1799"/>
                <a:gd name="T6" fmla="*/ 315 w 315"/>
                <a:gd name="T7" fmla="*/ 898 h 1799"/>
                <a:gd name="T8" fmla="*/ 185 w 315"/>
                <a:gd name="T9" fmla="*/ 0 h 1799"/>
                <a:gd name="T10" fmla="*/ 0 w 315"/>
                <a:gd name="T11" fmla="*/ 0 h 1799"/>
              </a:gdLst>
              <a:ahLst/>
              <a:cxnLst>
                <a:cxn ang="0">
                  <a:pos x="T0" y="T1"/>
                </a:cxn>
                <a:cxn ang="0">
                  <a:pos x="T2" y="T3"/>
                </a:cxn>
                <a:cxn ang="0">
                  <a:pos x="T4" y="T5"/>
                </a:cxn>
                <a:cxn ang="0">
                  <a:pos x="T6" y="T7"/>
                </a:cxn>
                <a:cxn ang="0">
                  <a:pos x="T8" y="T9"/>
                </a:cxn>
                <a:cxn ang="0">
                  <a:pos x="T10" y="T11"/>
                </a:cxn>
              </a:cxnLst>
              <a:rect l="0" t="0" r="r" b="b"/>
              <a:pathLst>
                <a:path w="315" h="1799">
                  <a:moveTo>
                    <a:pt x="0" y="0"/>
                  </a:moveTo>
                  <a:lnTo>
                    <a:pt x="0" y="1799"/>
                  </a:lnTo>
                  <a:lnTo>
                    <a:pt x="185" y="1799"/>
                  </a:lnTo>
                  <a:lnTo>
                    <a:pt x="315" y="898"/>
                  </a:lnTo>
                  <a:lnTo>
                    <a:pt x="185" y="0"/>
                  </a:lnTo>
                  <a:lnTo>
                    <a:pt x="0" y="0"/>
                  </a:lnTo>
                  <a:close/>
                </a:path>
              </a:pathLst>
            </a:custGeom>
            <a:solidFill>
              <a:schemeClr val="accent5">
                <a:lumMod val="5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7" name="Freeform 8">
              <a:extLst>
                <a:ext uri="{FF2B5EF4-FFF2-40B4-BE49-F238E27FC236}">
                  <a16:creationId xmlns:a16="http://schemas.microsoft.com/office/drawing/2014/main" id="{FD80277B-0D47-41A2-A70D-ACE0FC56400D}"/>
                </a:ext>
              </a:extLst>
            </p:cNvPr>
            <p:cNvSpPr>
              <a:spLocks/>
            </p:cNvSpPr>
            <p:nvPr/>
          </p:nvSpPr>
          <p:spPr bwMode="auto">
            <a:xfrm>
              <a:off x="2722563" y="4518217"/>
              <a:ext cx="1160463" cy="1427163"/>
            </a:xfrm>
            <a:custGeom>
              <a:avLst/>
              <a:gdLst>
                <a:gd name="T0" fmla="*/ 731 w 731"/>
                <a:gd name="T1" fmla="*/ 899 h 899"/>
                <a:gd name="T2" fmla="*/ 272 w 731"/>
                <a:gd name="T3" fmla="*/ 899 h 899"/>
                <a:gd name="T4" fmla="*/ 0 w 731"/>
                <a:gd name="T5" fmla="*/ 0 h 899"/>
                <a:gd name="T6" fmla="*/ 598 w 731"/>
                <a:gd name="T7" fmla="*/ 0 h 899"/>
                <a:gd name="T8" fmla="*/ 731 w 731"/>
                <a:gd name="T9" fmla="*/ 899 h 899"/>
              </a:gdLst>
              <a:ahLst/>
              <a:cxnLst>
                <a:cxn ang="0">
                  <a:pos x="T0" y="T1"/>
                </a:cxn>
                <a:cxn ang="0">
                  <a:pos x="T2" y="T3"/>
                </a:cxn>
                <a:cxn ang="0">
                  <a:pos x="T4" y="T5"/>
                </a:cxn>
                <a:cxn ang="0">
                  <a:pos x="T6" y="T7"/>
                </a:cxn>
                <a:cxn ang="0">
                  <a:pos x="T8" y="T9"/>
                </a:cxn>
              </a:cxnLst>
              <a:rect l="0" t="0" r="r" b="b"/>
              <a:pathLst>
                <a:path w="731" h="899">
                  <a:moveTo>
                    <a:pt x="731" y="899"/>
                  </a:moveTo>
                  <a:lnTo>
                    <a:pt x="272" y="899"/>
                  </a:lnTo>
                  <a:lnTo>
                    <a:pt x="0" y="0"/>
                  </a:lnTo>
                  <a:lnTo>
                    <a:pt x="598" y="0"/>
                  </a:lnTo>
                  <a:lnTo>
                    <a:pt x="731" y="899"/>
                  </a:lnTo>
                  <a:close/>
                </a:path>
              </a:pathLst>
            </a:custGeom>
            <a:solidFill>
              <a:schemeClr val="accent5">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8" name="Freeform 9">
              <a:extLst>
                <a:ext uri="{FF2B5EF4-FFF2-40B4-BE49-F238E27FC236}">
                  <a16:creationId xmlns:a16="http://schemas.microsoft.com/office/drawing/2014/main" id="{4D0BF0AC-703A-4A44-9354-6E659E82BA93}"/>
                </a:ext>
              </a:extLst>
            </p:cNvPr>
            <p:cNvSpPr>
              <a:spLocks/>
            </p:cNvSpPr>
            <p:nvPr/>
          </p:nvSpPr>
          <p:spPr bwMode="auto">
            <a:xfrm>
              <a:off x="2722563" y="3089467"/>
              <a:ext cx="1160462" cy="1428751"/>
            </a:xfrm>
            <a:custGeom>
              <a:avLst/>
              <a:gdLst>
                <a:gd name="T0" fmla="*/ 731 w 731"/>
                <a:gd name="T1" fmla="*/ 0 h 900"/>
                <a:gd name="T2" fmla="*/ 272 w 731"/>
                <a:gd name="T3" fmla="*/ 0 h 900"/>
                <a:gd name="T4" fmla="*/ 0 w 731"/>
                <a:gd name="T5" fmla="*/ 900 h 900"/>
                <a:gd name="T6" fmla="*/ 598 w 731"/>
                <a:gd name="T7" fmla="*/ 900 h 900"/>
                <a:gd name="T8" fmla="*/ 731 w 731"/>
                <a:gd name="T9" fmla="*/ 0 h 900"/>
              </a:gdLst>
              <a:ahLst/>
              <a:cxnLst>
                <a:cxn ang="0">
                  <a:pos x="T0" y="T1"/>
                </a:cxn>
                <a:cxn ang="0">
                  <a:pos x="T2" y="T3"/>
                </a:cxn>
                <a:cxn ang="0">
                  <a:pos x="T4" y="T5"/>
                </a:cxn>
                <a:cxn ang="0">
                  <a:pos x="T6" y="T7"/>
                </a:cxn>
                <a:cxn ang="0">
                  <a:pos x="T8" y="T9"/>
                </a:cxn>
              </a:cxnLst>
              <a:rect l="0" t="0" r="r" b="b"/>
              <a:pathLst>
                <a:path w="731" h="900">
                  <a:moveTo>
                    <a:pt x="731" y="0"/>
                  </a:moveTo>
                  <a:lnTo>
                    <a:pt x="272" y="0"/>
                  </a:lnTo>
                  <a:lnTo>
                    <a:pt x="0" y="900"/>
                  </a:lnTo>
                  <a:lnTo>
                    <a:pt x="598" y="900"/>
                  </a:lnTo>
                  <a:lnTo>
                    <a:pt x="731" y="0"/>
                  </a:lnTo>
                  <a:close/>
                </a:path>
              </a:pathLst>
            </a:custGeom>
            <a:solidFill>
              <a:schemeClr val="accent5"/>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32" name="Group 331">
            <a:extLst>
              <a:ext uri="{FF2B5EF4-FFF2-40B4-BE49-F238E27FC236}">
                <a16:creationId xmlns:a16="http://schemas.microsoft.com/office/drawing/2014/main" id="{890FE9B1-524A-425D-995D-9201DA882870}"/>
              </a:ext>
            </a:extLst>
          </p:cNvPr>
          <p:cNvGrpSpPr/>
          <p:nvPr/>
        </p:nvGrpSpPr>
        <p:grpSpPr>
          <a:xfrm>
            <a:off x="3416124" y="2712530"/>
            <a:ext cx="619072" cy="1015773"/>
            <a:chOff x="5035551" y="3089467"/>
            <a:chExt cx="1368425" cy="2855913"/>
          </a:xfrm>
        </p:grpSpPr>
        <p:sp>
          <p:nvSpPr>
            <p:cNvPr id="363" name="Freeform 16">
              <a:extLst>
                <a:ext uri="{FF2B5EF4-FFF2-40B4-BE49-F238E27FC236}">
                  <a16:creationId xmlns:a16="http://schemas.microsoft.com/office/drawing/2014/main" id="{83DDE6B1-9D16-4423-B44B-F0598C963341}"/>
                </a:ext>
              </a:extLst>
            </p:cNvPr>
            <p:cNvSpPr>
              <a:spLocks/>
            </p:cNvSpPr>
            <p:nvPr/>
          </p:nvSpPr>
          <p:spPr bwMode="auto">
            <a:xfrm>
              <a:off x="5035551" y="3089467"/>
              <a:ext cx="500063" cy="2855913"/>
            </a:xfrm>
            <a:custGeom>
              <a:avLst/>
              <a:gdLst>
                <a:gd name="T0" fmla="*/ 315 w 315"/>
                <a:gd name="T1" fmla="*/ 0 h 1799"/>
                <a:gd name="T2" fmla="*/ 315 w 315"/>
                <a:gd name="T3" fmla="*/ 1799 h 1799"/>
                <a:gd name="T4" fmla="*/ 130 w 315"/>
                <a:gd name="T5" fmla="*/ 1799 h 1799"/>
                <a:gd name="T6" fmla="*/ 0 w 315"/>
                <a:gd name="T7" fmla="*/ 898 h 1799"/>
                <a:gd name="T8" fmla="*/ 130 w 315"/>
                <a:gd name="T9" fmla="*/ 0 h 1799"/>
                <a:gd name="T10" fmla="*/ 315 w 315"/>
                <a:gd name="T11" fmla="*/ 0 h 1799"/>
              </a:gdLst>
              <a:ahLst/>
              <a:cxnLst>
                <a:cxn ang="0">
                  <a:pos x="T0" y="T1"/>
                </a:cxn>
                <a:cxn ang="0">
                  <a:pos x="T2" y="T3"/>
                </a:cxn>
                <a:cxn ang="0">
                  <a:pos x="T4" y="T5"/>
                </a:cxn>
                <a:cxn ang="0">
                  <a:pos x="T6" y="T7"/>
                </a:cxn>
                <a:cxn ang="0">
                  <a:pos x="T8" y="T9"/>
                </a:cxn>
                <a:cxn ang="0">
                  <a:pos x="T10" y="T11"/>
                </a:cxn>
              </a:cxnLst>
              <a:rect l="0" t="0" r="r" b="b"/>
              <a:pathLst>
                <a:path w="315" h="1799">
                  <a:moveTo>
                    <a:pt x="315" y="0"/>
                  </a:moveTo>
                  <a:lnTo>
                    <a:pt x="315" y="1799"/>
                  </a:lnTo>
                  <a:lnTo>
                    <a:pt x="130" y="1799"/>
                  </a:lnTo>
                  <a:lnTo>
                    <a:pt x="0" y="898"/>
                  </a:lnTo>
                  <a:lnTo>
                    <a:pt x="130" y="0"/>
                  </a:lnTo>
                  <a:lnTo>
                    <a:pt x="315" y="0"/>
                  </a:lnTo>
                  <a:close/>
                </a:path>
              </a:pathLst>
            </a:custGeom>
            <a:solidFill>
              <a:schemeClr val="accent5">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4" name="Freeform 14">
              <a:extLst>
                <a:ext uri="{FF2B5EF4-FFF2-40B4-BE49-F238E27FC236}">
                  <a16:creationId xmlns:a16="http://schemas.microsoft.com/office/drawing/2014/main" id="{5D39CAF2-D01B-4286-8F0F-7BF5F2BC69B6}"/>
                </a:ext>
              </a:extLst>
            </p:cNvPr>
            <p:cNvSpPr>
              <a:spLocks/>
            </p:cNvSpPr>
            <p:nvPr/>
          </p:nvSpPr>
          <p:spPr bwMode="auto">
            <a:xfrm>
              <a:off x="5241926" y="4518217"/>
              <a:ext cx="1162050" cy="1427163"/>
            </a:xfrm>
            <a:custGeom>
              <a:avLst/>
              <a:gdLst>
                <a:gd name="T0" fmla="*/ 0 w 732"/>
                <a:gd name="T1" fmla="*/ 899 h 899"/>
                <a:gd name="T2" fmla="*/ 459 w 732"/>
                <a:gd name="T3" fmla="*/ 899 h 899"/>
                <a:gd name="T4" fmla="*/ 732 w 732"/>
                <a:gd name="T5" fmla="*/ 0 h 899"/>
                <a:gd name="T6" fmla="*/ 133 w 732"/>
                <a:gd name="T7" fmla="*/ 0 h 899"/>
                <a:gd name="T8" fmla="*/ 0 w 732"/>
                <a:gd name="T9" fmla="*/ 899 h 899"/>
              </a:gdLst>
              <a:ahLst/>
              <a:cxnLst>
                <a:cxn ang="0">
                  <a:pos x="T0" y="T1"/>
                </a:cxn>
                <a:cxn ang="0">
                  <a:pos x="T2" y="T3"/>
                </a:cxn>
                <a:cxn ang="0">
                  <a:pos x="T4" y="T5"/>
                </a:cxn>
                <a:cxn ang="0">
                  <a:pos x="T6" y="T7"/>
                </a:cxn>
                <a:cxn ang="0">
                  <a:pos x="T8" y="T9"/>
                </a:cxn>
              </a:cxnLst>
              <a:rect l="0" t="0" r="r" b="b"/>
              <a:pathLst>
                <a:path w="732" h="899">
                  <a:moveTo>
                    <a:pt x="0" y="899"/>
                  </a:moveTo>
                  <a:lnTo>
                    <a:pt x="459" y="899"/>
                  </a:lnTo>
                  <a:lnTo>
                    <a:pt x="732" y="0"/>
                  </a:lnTo>
                  <a:lnTo>
                    <a:pt x="133" y="0"/>
                  </a:lnTo>
                  <a:lnTo>
                    <a:pt x="0" y="899"/>
                  </a:lnTo>
                  <a:close/>
                </a:path>
              </a:pathLst>
            </a:custGeom>
            <a:solidFill>
              <a:schemeClr val="accent2">
                <a:lumMod val="60000"/>
                <a:lumOff val="4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5" name="Freeform 15">
              <a:extLst>
                <a:ext uri="{FF2B5EF4-FFF2-40B4-BE49-F238E27FC236}">
                  <a16:creationId xmlns:a16="http://schemas.microsoft.com/office/drawing/2014/main" id="{39F4F247-6BA7-44FE-B3A1-EF1CCEA61D4C}"/>
                </a:ext>
              </a:extLst>
            </p:cNvPr>
            <p:cNvSpPr>
              <a:spLocks/>
            </p:cNvSpPr>
            <p:nvPr/>
          </p:nvSpPr>
          <p:spPr bwMode="auto">
            <a:xfrm>
              <a:off x="5241926" y="3089467"/>
              <a:ext cx="1162050" cy="1428750"/>
            </a:xfrm>
            <a:custGeom>
              <a:avLst/>
              <a:gdLst>
                <a:gd name="T0" fmla="*/ 0 w 732"/>
                <a:gd name="T1" fmla="*/ 0 h 900"/>
                <a:gd name="T2" fmla="*/ 459 w 732"/>
                <a:gd name="T3" fmla="*/ 0 h 900"/>
                <a:gd name="T4" fmla="*/ 732 w 732"/>
                <a:gd name="T5" fmla="*/ 900 h 900"/>
                <a:gd name="T6" fmla="*/ 133 w 732"/>
                <a:gd name="T7" fmla="*/ 900 h 900"/>
                <a:gd name="T8" fmla="*/ 0 w 732"/>
                <a:gd name="T9" fmla="*/ 0 h 900"/>
              </a:gdLst>
              <a:ahLst/>
              <a:cxnLst>
                <a:cxn ang="0">
                  <a:pos x="T0" y="T1"/>
                </a:cxn>
                <a:cxn ang="0">
                  <a:pos x="T2" y="T3"/>
                </a:cxn>
                <a:cxn ang="0">
                  <a:pos x="T4" y="T5"/>
                </a:cxn>
                <a:cxn ang="0">
                  <a:pos x="T6" y="T7"/>
                </a:cxn>
                <a:cxn ang="0">
                  <a:pos x="T8" y="T9"/>
                </a:cxn>
              </a:cxnLst>
              <a:rect l="0" t="0" r="r" b="b"/>
              <a:pathLst>
                <a:path w="732" h="900">
                  <a:moveTo>
                    <a:pt x="0" y="0"/>
                  </a:moveTo>
                  <a:lnTo>
                    <a:pt x="459" y="0"/>
                  </a:lnTo>
                  <a:lnTo>
                    <a:pt x="732" y="900"/>
                  </a:lnTo>
                  <a:lnTo>
                    <a:pt x="133" y="900"/>
                  </a:lnTo>
                  <a:lnTo>
                    <a:pt x="0" y="0"/>
                  </a:lnTo>
                  <a:close/>
                </a:path>
              </a:pathLst>
            </a:custGeom>
            <a:solidFill>
              <a:schemeClr val="accent2">
                <a:lumMod val="40000"/>
                <a:lumOff val="6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33" name="Group 332">
            <a:extLst>
              <a:ext uri="{FF2B5EF4-FFF2-40B4-BE49-F238E27FC236}">
                <a16:creationId xmlns:a16="http://schemas.microsoft.com/office/drawing/2014/main" id="{0193E807-A0B0-4A41-B139-8DE23C2B3D2F}"/>
              </a:ext>
            </a:extLst>
          </p:cNvPr>
          <p:cNvGrpSpPr/>
          <p:nvPr/>
        </p:nvGrpSpPr>
        <p:grpSpPr>
          <a:xfrm>
            <a:off x="2928479" y="2541381"/>
            <a:ext cx="540790" cy="1356333"/>
            <a:chOff x="3957638" y="2562417"/>
            <a:chExt cx="1195388" cy="3905250"/>
          </a:xfrm>
        </p:grpSpPr>
        <p:sp>
          <p:nvSpPr>
            <p:cNvPr id="361" name="Freeform 6">
              <a:extLst>
                <a:ext uri="{FF2B5EF4-FFF2-40B4-BE49-F238E27FC236}">
                  <a16:creationId xmlns:a16="http://schemas.microsoft.com/office/drawing/2014/main" id="{D07DEDD3-40B8-4460-8CC8-3167BEEC42A0}"/>
                </a:ext>
              </a:extLst>
            </p:cNvPr>
            <p:cNvSpPr>
              <a:spLocks/>
            </p:cNvSpPr>
            <p:nvPr/>
          </p:nvSpPr>
          <p:spPr bwMode="auto">
            <a:xfrm>
              <a:off x="3957638" y="4515042"/>
              <a:ext cx="1195388" cy="1952625"/>
            </a:xfrm>
            <a:custGeom>
              <a:avLst/>
              <a:gdLst>
                <a:gd name="T0" fmla="*/ 634 w 753"/>
                <a:gd name="T1" fmla="*/ 1230 h 1230"/>
                <a:gd name="T2" fmla="*/ 126 w 753"/>
                <a:gd name="T3" fmla="*/ 1230 h 1230"/>
                <a:gd name="T4" fmla="*/ 0 w 753"/>
                <a:gd name="T5" fmla="*/ 0 h 1230"/>
                <a:gd name="T6" fmla="*/ 753 w 753"/>
                <a:gd name="T7" fmla="*/ 0 h 1230"/>
                <a:gd name="T8" fmla="*/ 634 w 753"/>
                <a:gd name="T9" fmla="*/ 1230 h 1230"/>
              </a:gdLst>
              <a:ahLst/>
              <a:cxnLst>
                <a:cxn ang="0">
                  <a:pos x="T0" y="T1"/>
                </a:cxn>
                <a:cxn ang="0">
                  <a:pos x="T2" y="T3"/>
                </a:cxn>
                <a:cxn ang="0">
                  <a:pos x="T4" y="T5"/>
                </a:cxn>
                <a:cxn ang="0">
                  <a:pos x="T6" y="T7"/>
                </a:cxn>
                <a:cxn ang="0">
                  <a:pos x="T8" y="T9"/>
                </a:cxn>
              </a:cxnLst>
              <a:rect l="0" t="0" r="r" b="b"/>
              <a:pathLst>
                <a:path w="753" h="1230">
                  <a:moveTo>
                    <a:pt x="634" y="1230"/>
                  </a:moveTo>
                  <a:lnTo>
                    <a:pt x="126" y="1230"/>
                  </a:lnTo>
                  <a:lnTo>
                    <a:pt x="0" y="0"/>
                  </a:lnTo>
                  <a:lnTo>
                    <a:pt x="753" y="0"/>
                  </a:lnTo>
                  <a:lnTo>
                    <a:pt x="634" y="1230"/>
                  </a:lnTo>
                  <a:close/>
                </a:path>
              </a:pathLst>
            </a:custGeom>
            <a:solidFill>
              <a:schemeClr val="accent2">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2" name="Freeform 7">
              <a:extLst>
                <a:ext uri="{FF2B5EF4-FFF2-40B4-BE49-F238E27FC236}">
                  <a16:creationId xmlns:a16="http://schemas.microsoft.com/office/drawing/2014/main" id="{95340393-AE6B-4143-8557-21CA2DAA9E69}"/>
                </a:ext>
              </a:extLst>
            </p:cNvPr>
            <p:cNvSpPr>
              <a:spLocks/>
            </p:cNvSpPr>
            <p:nvPr/>
          </p:nvSpPr>
          <p:spPr bwMode="auto">
            <a:xfrm>
              <a:off x="3957638" y="2562417"/>
              <a:ext cx="1195388" cy="1952625"/>
            </a:xfrm>
            <a:custGeom>
              <a:avLst/>
              <a:gdLst>
                <a:gd name="T0" fmla="*/ 634 w 753"/>
                <a:gd name="T1" fmla="*/ 0 h 1230"/>
                <a:gd name="T2" fmla="*/ 126 w 753"/>
                <a:gd name="T3" fmla="*/ 0 h 1230"/>
                <a:gd name="T4" fmla="*/ 0 w 753"/>
                <a:gd name="T5" fmla="*/ 1230 h 1230"/>
                <a:gd name="T6" fmla="*/ 753 w 753"/>
                <a:gd name="T7" fmla="*/ 1230 h 1230"/>
                <a:gd name="T8" fmla="*/ 634 w 753"/>
                <a:gd name="T9" fmla="*/ 0 h 1230"/>
              </a:gdLst>
              <a:ahLst/>
              <a:cxnLst>
                <a:cxn ang="0">
                  <a:pos x="T0" y="T1"/>
                </a:cxn>
                <a:cxn ang="0">
                  <a:pos x="T2" y="T3"/>
                </a:cxn>
                <a:cxn ang="0">
                  <a:pos x="T4" y="T5"/>
                </a:cxn>
                <a:cxn ang="0">
                  <a:pos x="T6" y="T7"/>
                </a:cxn>
                <a:cxn ang="0">
                  <a:pos x="T8" y="T9"/>
                </a:cxn>
              </a:cxnLst>
              <a:rect l="0" t="0" r="r" b="b"/>
              <a:pathLst>
                <a:path w="753" h="1230">
                  <a:moveTo>
                    <a:pt x="634" y="0"/>
                  </a:moveTo>
                  <a:lnTo>
                    <a:pt x="126" y="0"/>
                  </a:lnTo>
                  <a:lnTo>
                    <a:pt x="0" y="1230"/>
                  </a:lnTo>
                  <a:lnTo>
                    <a:pt x="753" y="1230"/>
                  </a:lnTo>
                  <a:lnTo>
                    <a:pt x="634" y="0"/>
                  </a:lnTo>
                  <a:close/>
                </a:path>
              </a:pathLst>
            </a:custGeom>
            <a:solidFill>
              <a:schemeClr val="accent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376" name="Group 375">
            <a:extLst>
              <a:ext uri="{FF2B5EF4-FFF2-40B4-BE49-F238E27FC236}">
                <a16:creationId xmlns:a16="http://schemas.microsoft.com/office/drawing/2014/main" id="{76B88DD4-5421-4140-A9DA-A7836BEE539A}"/>
              </a:ext>
            </a:extLst>
          </p:cNvPr>
          <p:cNvGrpSpPr/>
          <p:nvPr/>
        </p:nvGrpSpPr>
        <p:grpSpPr>
          <a:xfrm>
            <a:off x="1081796" y="2709046"/>
            <a:ext cx="1579807" cy="139533"/>
            <a:chOff x="3561274" y="3336762"/>
            <a:chExt cx="1375423" cy="284132"/>
          </a:xfrm>
        </p:grpSpPr>
        <p:cxnSp>
          <p:nvCxnSpPr>
            <p:cNvPr id="380" name="Straight Connector 379">
              <a:extLst>
                <a:ext uri="{FF2B5EF4-FFF2-40B4-BE49-F238E27FC236}">
                  <a16:creationId xmlns:a16="http://schemas.microsoft.com/office/drawing/2014/main" id="{DF70B39A-0AE9-4778-8958-BADF7786AC8B}"/>
                </a:ext>
              </a:extLst>
            </p:cNvPr>
            <p:cNvCxnSpPr>
              <a:cxnSpLocks/>
            </p:cNvCxnSpPr>
            <p:nvPr/>
          </p:nvCxnSpPr>
          <p:spPr>
            <a:xfrm>
              <a:off x="3561274" y="3620892"/>
              <a:ext cx="1375423" cy="0"/>
            </a:xfrm>
            <a:prstGeom prst="line">
              <a:avLst/>
            </a:prstGeom>
            <a:noFill/>
            <a:ln w="6350">
              <a:solidFill>
                <a:schemeClr val="accent5"/>
              </a:solidFill>
              <a:prstDash val="dash"/>
              <a:headEnd type="none"/>
            </a:ln>
            <a:effectLst/>
          </p:spPr>
          <p:style>
            <a:lnRef idx="2">
              <a:schemeClr val="accent1">
                <a:shade val="50000"/>
              </a:schemeClr>
            </a:lnRef>
            <a:fillRef idx="1">
              <a:schemeClr val="accent1"/>
            </a:fillRef>
            <a:effectRef idx="0">
              <a:schemeClr val="accent1"/>
            </a:effectRef>
            <a:fontRef idx="minor">
              <a:schemeClr val="lt1"/>
            </a:fontRef>
          </p:style>
        </p:cxnSp>
        <p:cxnSp>
          <p:nvCxnSpPr>
            <p:cNvPr id="381" name="Straight Connector 380">
              <a:extLst>
                <a:ext uri="{FF2B5EF4-FFF2-40B4-BE49-F238E27FC236}">
                  <a16:creationId xmlns:a16="http://schemas.microsoft.com/office/drawing/2014/main" id="{EE194112-0361-40AA-867E-F02E370F79B0}"/>
                </a:ext>
              </a:extLst>
            </p:cNvPr>
            <p:cNvCxnSpPr>
              <a:cxnSpLocks/>
            </p:cNvCxnSpPr>
            <p:nvPr/>
          </p:nvCxnSpPr>
          <p:spPr>
            <a:xfrm>
              <a:off x="3561274" y="3336762"/>
              <a:ext cx="0" cy="284132"/>
            </a:xfrm>
            <a:prstGeom prst="line">
              <a:avLst/>
            </a:prstGeom>
            <a:noFill/>
            <a:ln w="6350">
              <a:solidFill>
                <a:schemeClr val="accent5"/>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377" name="Group 376">
            <a:extLst>
              <a:ext uri="{FF2B5EF4-FFF2-40B4-BE49-F238E27FC236}">
                <a16:creationId xmlns:a16="http://schemas.microsoft.com/office/drawing/2014/main" id="{A3ADCA2A-A788-48A7-9ADA-F5220BE580CC}"/>
              </a:ext>
            </a:extLst>
          </p:cNvPr>
          <p:cNvGrpSpPr/>
          <p:nvPr/>
        </p:nvGrpSpPr>
        <p:grpSpPr>
          <a:xfrm>
            <a:off x="3876242" y="2711806"/>
            <a:ext cx="1621570" cy="136774"/>
            <a:chOff x="7255303" y="3336762"/>
            <a:chExt cx="1375423" cy="284132"/>
          </a:xfrm>
        </p:grpSpPr>
        <p:cxnSp>
          <p:nvCxnSpPr>
            <p:cNvPr id="378" name="Straight Connector 377">
              <a:extLst>
                <a:ext uri="{FF2B5EF4-FFF2-40B4-BE49-F238E27FC236}">
                  <a16:creationId xmlns:a16="http://schemas.microsoft.com/office/drawing/2014/main" id="{A946F30A-A0A2-4B34-915A-4887D6885D11}"/>
                </a:ext>
              </a:extLst>
            </p:cNvPr>
            <p:cNvCxnSpPr>
              <a:cxnSpLocks/>
            </p:cNvCxnSpPr>
            <p:nvPr/>
          </p:nvCxnSpPr>
          <p:spPr>
            <a:xfrm flipH="1">
              <a:off x="7255303" y="3620892"/>
              <a:ext cx="1375423" cy="0"/>
            </a:xfrm>
            <a:prstGeom prst="line">
              <a:avLst/>
            </a:prstGeom>
            <a:noFill/>
            <a:ln w="6350">
              <a:solidFill>
                <a:schemeClr val="accent2">
                  <a:lumMod val="40000"/>
                  <a:lumOff val="60000"/>
                </a:schemeClr>
              </a:solidFill>
              <a:prstDash val="dash"/>
              <a:headEnd type="none"/>
            </a:ln>
            <a:effectLst/>
          </p:spPr>
          <p:style>
            <a:lnRef idx="2">
              <a:schemeClr val="accent1">
                <a:shade val="50000"/>
              </a:schemeClr>
            </a:lnRef>
            <a:fillRef idx="1">
              <a:schemeClr val="accent1"/>
            </a:fillRef>
            <a:effectRef idx="0">
              <a:schemeClr val="accent1"/>
            </a:effectRef>
            <a:fontRef idx="minor">
              <a:schemeClr val="lt1"/>
            </a:fontRef>
          </p:style>
        </p:cxnSp>
        <p:cxnSp>
          <p:nvCxnSpPr>
            <p:cNvPr id="379" name="Straight Connector 378">
              <a:extLst>
                <a:ext uri="{FF2B5EF4-FFF2-40B4-BE49-F238E27FC236}">
                  <a16:creationId xmlns:a16="http://schemas.microsoft.com/office/drawing/2014/main" id="{F46691A8-F87C-4884-8476-008C590A293F}"/>
                </a:ext>
              </a:extLst>
            </p:cNvPr>
            <p:cNvCxnSpPr>
              <a:cxnSpLocks/>
            </p:cNvCxnSpPr>
            <p:nvPr/>
          </p:nvCxnSpPr>
          <p:spPr>
            <a:xfrm flipH="1">
              <a:off x="8630726" y="3336762"/>
              <a:ext cx="0" cy="284132"/>
            </a:xfrm>
            <a:prstGeom prst="line">
              <a:avLst/>
            </a:prstGeom>
            <a:noFill/>
            <a:ln w="6350">
              <a:solidFill>
                <a:schemeClr val="accent2">
                  <a:lumMod val="40000"/>
                  <a:lumOff val="60000"/>
                </a:schemeClr>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cxnSp>
      </p:grpSp>
      <p:sp>
        <p:nvSpPr>
          <p:cNvPr id="382" name="TextBox 381">
            <a:extLst>
              <a:ext uri="{FF2B5EF4-FFF2-40B4-BE49-F238E27FC236}">
                <a16:creationId xmlns:a16="http://schemas.microsoft.com/office/drawing/2014/main" id="{B7948CF0-DF3A-419E-9BD6-8DCDA6AFFDF0}"/>
              </a:ext>
            </a:extLst>
          </p:cNvPr>
          <p:cNvSpPr txBox="1"/>
          <p:nvPr/>
        </p:nvSpPr>
        <p:spPr>
          <a:xfrm>
            <a:off x="1775583" y="2029540"/>
            <a:ext cx="2865169" cy="228268"/>
          </a:xfrm>
          <a:prstGeom prst="rect">
            <a:avLst/>
          </a:prstGeom>
          <a:noFill/>
          <a:ln w="6350">
            <a:noFill/>
            <a:prstDash val="dash"/>
          </a:ln>
        </p:spPr>
        <p:txBody>
          <a:bodyPr wrap="square" lIns="0" tIns="0" rIns="0" bIns="0" rtlCol="0">
            <a:spAutoFit/>
          </a:bodyPr>
          <a:lstStyle/>
          <a:p>
            <a:pPr algn="ctr" eaLnBrk="0" hangingPunct="0">
              <a:spcAft>
                <a:spcPts val="100"/>
              </a:spcAft>
            </a:pPr>
            <a:r>
              <a:rPr lang="en-US" sz="700" dirty="0">
                <a:latin typeface="Arial" pitchFamily="34" charset="0"/>
                <a:cs typeface="Arial" pitchFamily="34" charset="0"/>
              </a:rPr>
              <a:t>What are the typical considerations for selecting an outsourcing partner?</a:t>
            </a:r>
          </a:p>
          <a:p>
            <a:pPr algn="ctr" eaLnBrk="0" hangingPunct="0">
              <a:spcAft>
                <a:spcPts val="100"/>
              </a:spcAft>
            </a:pPr>
            <a:r>
              <a:rPr lang="en-US" sz="700" dirty="0">
                <a:latin typeface="Arial" pitchFamily="34" charset="0"/>
                <a:cs typeface="Arial" pitchFamily="34" charset="0"/>
              </a:rPr>
              <a:t>How should the outsourcing partners be categorized?</a:t>
            </a:r>
          </a:p>
        </p:txBody>
      </p:sp>
      <p:sp>
        <p:nvSpPr>
          <p:cNvPr id="383" name="TextBox 382">
            <a:extLst>
              <a:ext uri="{FF2B5EF4-FFF2-40B4-BE49-F238E27FC236}">
                <a16:creationId xmlns:a16="http://schemas.microsoft.com/office/drawing/2014/main" id="{3AFF4D9C-4245-4AC9-A7BE-9F4FFCD201BE}"/>
              </a:ext>
            </a:extLst>
          </p:cNvPr>
          <p:cNvSpPr txBox="1"/>
          <p:nvPr/>
        </p:nvSpPr>
        <p:spPr>
          <a:xfrm>
            <a:off x="386591" y="3165491"/>
            <a:ext cx="1047624" cy="538609"/>
          </a:xfrm>
          <a:prstGeom prst="rect">
            <a:avLst/>
          </a:prstGeom>
          <a:noFill/>
          <a:ln w="6350">
            <a:noFill/>
            <a:prstDash val="dash"/>
          </a:ln>
        </p:spPr>
        <p:txBody>
          <a:bodyPr wrap="square" lIns="0" tIns="0" rIns="0" bIns="0" rtlCol="0">
            <a:spAutoFit/>
          </a:bodyPr>
          <a:lstStyle/>
          <a:p>
            <a:pPr algn="r" eaLnBrk="0" hangingPunct="0"/>
            <a:r>
              <a:rPr lang="en-US" sz="700" dirty="0">
                <a:latin typeface="Arial" pitchFamily="34" charset="0"/>
                <a:cs typeface="Arial" pitchFamily="34" charset="0"/>
              </a:rPr>
              <a:t>What are the factors that can help determine the suitability of engineering workstreams to outsourcing?</a:t>
            </a:r>
          </a:p>
        </p:txBody>
      </p:sp>
      <p:sp>
        <p:nvSpPr>
          <p:cNvPr id="384" name="TextBox 383">
            <a:extLst>
              <a:ext uri="{FF2B5EF4-FFF2-40B4-BE49-F238E27FC236}">
                <a16:creationId xmlns:a16="http://schemas.microsoft.com/office/drawing/2014/main" id="{BBE7D6EE-6CF3-41B6-ACBC-7A04BD6F757E}"/>
              </a:ext>
            </a:extLst>
          </p:cNvPr>
          <p:cNvSpPr txBox="1"/>
          <p:nvPr/>
        </p:nvSpPr>
        <p:spPr>
          <a:xfrm>
            <a:off x="196953" y="2301371"/>
            <a:ext cx="1761375" cy="323165"/>
          </a:xfrm>
          <a:prstGeom prst="rect">
            <a:avLst/>
          </a:prstGeom>
          <a:noFill/>
          <a:ln w="6350">
            <a:noFill/>
            <a:prstDash val="dash"/>
          </a:ln>
        </p:spPr>
        <p:txBody>
          <a:bodyPr wrap="square" lIns="0" tIns="0" rIns="0" bIns="0" rtlCol="0">
            <a:spAutoFit/>
          </a:bodyPr>
          <a:lstStyle/>
          <a:p>
            <a:pPr algn="ctr" eaLnBrk="0" hangingPunct="0"/>
            <a:r>
              <a:rPr lang="en-US" sz="700" dirty="0">
                <a:latin typeface="Arial" pitchFamily="34" charset="0"/>
                <a:cs typeface="Arial" pitchFamily="34" charset="0"/>
              </a:rPr>
              <a:t>What are the suitable locations </a:t>
            </a:r>
          </a:p>
          <a:p>
            <a:pPr algn="ctr" eaLnBrk="0" hangingPunct="0"/>
            <a:r>
              <a:rPr lang="en-US" sz="700" dirty="0">
                <a:latin typeface="Arial" pitchFamily="34" charset="0"/>
                <a:cs typeface="Arial" pitchFamily="34" charset="0"/>
              </a:rPr>
              <a:t>and delivery models for</a:t>
            </a:r>
          </a:p>
          <a:p>
            <a:pPr algn="ctr" eaLnBrk="0" hangingPunct="0"/>
            <a:r>
              <a:rPr lang="en-US" sz="700" dirty="0">
                <a:latin typeface="Arial" pitchFamily="34" charset="0"/>
                <a:cs typeface="Arial" pitchFamily="34" charset="0"/>
              </a:rPr>
              <a:t>engineering workstreams?</a:t>
            </a:r>
          </a:p>
        </p:txBody>
      </p:sp>
      <p:sp>
        <p:nvSpPr>
          <p:cNvPr id="385" name="TextBox 384">
            <a:extLst>
              <a:ext uri="{FF2B5EF4-FFF2-40B4-BE49-F238E27FC236}">
                <a16:creationId xmlns:a16="http://schemas.microsoft.com/office/drawing/2014/main" id="{E4198996-73F6-4DBD-8667-6EC053770B68}"/>
              </a:ext>
            </a:extLst>
          </p:cNvPr>
          <p:cNvSpPr txBox="1"/>
          <p:nvPr/>
        </p:nvSpPr>
        <p:spPr>
          <a:xfrm>
            <a:off x="4876619" y="3165491"/>
            <a:ext cx="911969" cy="430887"/>
          </a:xfrm>
          <a:prstGeom prst="rect">
            <a:avLst/>
          </a:prstGeom>
          <a:noFill/>
          <a:ln w="6350">
            <a:noFill/>
            <a:prstDash val="dash"/>
          </a:ln>
        </p:spPr>
        <p:txBody>
          <a:bodyPr wrap="square" lIns="0" tIns="0" rIns="0" bIns="0" rtlCol="0">
            <a:spAutoFit/>
          </a:bodyPr>
          <a:lstStyle/>
          <a:p>
            <a:pPr eaLnBrk="0" hangingPunct="0"/>
            <a:r>
              <a:rPr lang="en-US" sz="700" dirty="0">
                <a:latin typeface="Arial" pitchFamily="34" charset="0"/>
                <a:cs typeface="Arial" pitchFamily="34" charset="0"/>
              </a:rPr>
              <a:t>What are the ways to monitor and manage the performance of outsourcing partners?</a:t>
            </a:r>
          </a:p>
        </p:txBody>
      </p:sp>
      <p:sp>
        <p:nvSpPr>
          <p:cNvPr id="386" name="TextBox 385">
            <a:extLst>
              <a:ext uri="{FF2B5EF4-FFF2-40B4-BE49-F238E27FC236}">
                <a16:creationId xmlns:a16="http://schemas.microsoft.com/office/drawing/2014/main" id="{D4F2BA1E-1E9E-4459-8E21-E0C120CAD230}"/>
              </a:ext>
            </a:extLst>
          </p:cNvPr>
          <p:cNvSpPr txBox="1"/>
          <p:nvPr/>
        </p:nvSpPr>
        <p:spPr>
          <a:xfrm>
            <a:off x="4709658" y="2301371"/>
            <a:ext cx="1508128" cy="323165"/>
          </a:xfrm>
          <a:prstGeom prst="rect">
            <a:avLst/>
          </a:prstGeom>
          <a:noFill/>
          <a:ln w="6350">
            <a:noFill/>
            <a:prstDash val="dash"/>
          </a:ln>
        </p:spPr>
        <p:txBody>
          <a:bodyPr wrap="square" lIns="0" tIns="0" rIns="0" bIns="0" rtlCol="0">
            <a:spAutoFit/>
          </a:bodyPr>
          <a:lstStyle/>
          <a:p>
            <a:pPr algn="ctr" eaLnBrk="0" hangingPunct="0"/>
            <a:r>
              <a:rPr lang="en-US" sz="700" dirty="0">
                <a:latin typeface="Arial" pitchFamily="34" charset="0"/>
                <a:cs typeface="Arial" pitchFamily="34" charset="0"/>
              </a:rPr>
              <a:t>What are the best practice</a:t>
            </a:r>
          </a:p>
          <a:p>
            <a:pPr algn="ctr" eaLnBrk="0" hangingPunct="0"/>
            <a:r>
              <a:rPr lang="en-US" sz="700" dirty="0">
                <a:latin typeface="Arial" pitchFamily="34" charset="0"/>
                <a:cs typeface="Arial" pitchFamily="34" charset="0"/>
              </a:rPr>
              <a:t> around engagement and</a:t>
            </a:r>
          </a:p>
          <a:p>
            <a:pPr algn="ctr" eaLnBrk="0" hangingPunct="0"/>
            <a:r>
              <a:rPr lang="en-US" sz="700" dirty="0">
                <a:latin typeface="Arial" pitchFamily="34" charset="0"/>
                <a:cs typeface="Arial" pitchFamily="34" charset="0"/>
              </a:rPr>
              <a:t>pricing models?</a:t>
            </a:r>
          </a:p>
        </p:txBody>
      </p:sp>
      <p:cxnSp>
        <p:nvCxnSpPr>
          <p:cNvPr id="388" name="Straight Connector 387">
            <a:extLst>
              <a:ext uri="{FF2B5EF4-FFF2-40B4-BE49-F238E27FC236}">
                <a16:creationId xmlns:a16="http://schemas.microsoft.com/office/drawing/2014/main" id="{73B65ED6-23CC-41FD-86FF-50B2FAC570E2}"/>
              </a:ext>
            </a:extLst>
          </p:cNvPr>
          <p:cNvCxnSpPr>
            <a:cxnSpLocks/>
          </p:cNvCxnSpPr>
          <p:nvPr/>
        </p:nvCxnSpPr>
        <p:spPr>
          <a:xfrm>
            <a:off x="3213726" y="2335428"/>
            <a:ext cx="0" cy="373619"/>
          </a:xfrm>
          <a:prstGeom prst="line">
            <a:avLst/>
          </a:prstGeom>
          <a:noFill/>
          <a:ln w="6350">
            <a:solidFill>
              <a:schemeClr val="accent2"/>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cxnSp>
      <p:cxnSp>
        <p:nvCxnSpPr>
          <p:cNvPr id="389" name="Straight Connector 388">
            <a:extLst>
              <a:ext uri="{FF2B5EF4-FFF2-40B4-BE49-F238E27FC236}">
                <a16:creationId xmlns:a16="http://schemas.microsoft.com/office/drawing/2014/main" id="{DC1F3FF7-E6DF-40D1-A239-F2DDFE4F31A9}"/>
              </a:ext>
            </a:extLst>
          </p:cNvPr>
          <p:cNvCxnSpPr>
            <a:cxnSpLocks/>
          </p:cNvCxnSpPr>
          <p:nvPr/>
        </p:nvCxnSpPr>
        <p:spPr>
          <a:xfrm flipV="1">
            <a:off x="1529611" y="3219548"/>
            <a:ext cx="491046" cy="13312"/>
          </a:xfrm>
          <a:prstGeom prst="line">
            <a:avLst/>
          </a:prstGeom>
          <a:noFill/>
          <a:ln w="6350">
            <a:solidFill>
              <a:schemeClr val="bg2">
                <a:lumMod val="60000"/>
                <a:lumOff val="40000"/>
              </a:schemeClr>
            </a:solidFill>
            <a:prstDash val="dash"/>
            <a:headEnd type="oval"/>
          </a:ln>
          <a:effectLst/>
        </p:spPr>
        <p:style>
          <a:lnRef idx="2">
            <a:schemeClr val="accent1">
              <a:shade val="50000"/>
            </a:schemeClr>
          </a:lnRef>
          <a:fillRef idx="1">
            <a:schemeClr val="accent1"/>
          </a:fillRef>
          <a:effectRef idx="0">
            <a:schemeClr val="accent1"/>
          </a:effectRef>
          <a:fontRef idx="minor">
            <a:schemeClr val="lt1"/>
          </a:fontRef>
        </p:style>
      </p:cxnSp>
      <p:sp>
        <p:nvSpPr>
          <p:cNvPr id="395" name="Rounded Rectangle 79">
            <a:extLst>
              <a:ext uri="{FF2B5EF4-FFF2-40B4-BE49-F238E27FC236}">
                <a16:creationId xmlns:a16="http://schemas.microsoft.com/office/drawing/2014/main" id="{856BD2B6-D29D-415D-B5B8-48BFAB7FF276}"/>
              </a:ext>
            </a:extLst>
          </p:cNvPr>
          <p:cNvSpPr>
            <a:spLocks noChangeArrowheads="1"/>
          </p:cNvSpPr>
          <p:nvPr/>
        </p:nvSpPr>
        <p:spPr bwMode="auto">
          <a:xfrm>
            <a:off x="10879212" y="1928194"/>
            <a:ext cx="155448" cy="73152"/>
          </a:xfrm>
          <a:prstGeom prst="roundRect">
            <a:avLst>
              <a:gd name="adj" fmla="val 16667"/>
            </a:avLst>
          </a:prstGeom>
          <a:solidFill>
            <a:schemeClr val="accent3"/>
          </a:solidFill>
          <a:ln w="9525" algn="ctr">
            <a:noFill/>
            <a:round/>
            <a:headEnd/>
            <a:tailEnd/>
          </a:ln>
        </p:spPr>
        <p:txBody>
          <a:bodyPr wrap="none" lIns="0" tIns="0" rIns="0" bIns="0" anchor="ctr"/>
          <a:lstStyle/>
          <a:p>
            <a:pPr marL="304800" marR="0" lvl="0" indent="-304800" algn="ctr" defTabSz="914400" rtl="0" eaLnBrk="1" fontAlgn="base" latinLnBrk="0" hangingPunct="1">
              <a:lnSpc>
                <a:spcPct val="100000"/>
              </a:lnSpc>
              <a:spcBef>
                <a:spcPct val="0"/>
              </a:spcBef>
              <a:spcAft>
                <a:spcPct val="0"/>
              </a:spcAft>
              <a:buClr>
                <a:srgbClr val="52B964"/>
              </a:buClr>
              <a:buSzPct val="60000"/>
              <a:buFontTx/>
              <a:buNone/>
              <a:tabLst/>
              <a:defRPr/>
            </a:pPr>
            <a:endParaRPr kumimoji="0" lang="en-US" sz="600" b="0" i="0" u="none" strike="noStrike" kern="1200" cap="none" spc="0" normalizeH="0" baseline="0" noProof="0" dirty="0">
              <a:ln>
                <a:noFill/>
              </a:ln>
              <a:solidFill>
                <a:srgbClr val="3F3F3F"/>
              </a:solidFill>
              <a:effectLst/>
              <a:uLnTx/>
              <a:uFillTx/>
              <a:latin typeface="+mn-lt"/>
              <a:ea typeface="+mn-ea"/>
              <a:cs typeface="Arial" charset="0"/>
            </a:endParaRPr>
          </a:p>
        </p:txBody>
      </p:sp>
      <p:sp>
        <p:nvSpPr>
          <p:cNvPr id="396" name="TextBox 76">
            <a:extLst>
              <a:ext uri="{FF2B5EF4-FFF2-40B4-BE49-F238E27FC236}">
                <a16:creationId xmlns:a16="http://schemas.microsoft.com/office/drawing/2014/main" id="{FF4ABE24-A8F6-459C-9E24-B5AAEC126406}"/>
              </a:ext>
            </a:extLst>
          </p:cNvPr>
          <p:cNvSpPr txBox="1">
            <a:spLocks noChangeArrowheads="1"/>
          </p:cNvSpPr>
          <p:nvPr/>
        </p:nvSpPr>
        <p:spPr bwMode="auto">
          <a:xfrm>
            <a:off x="10983723" y="1912798"/>
            <a:ext cx="8272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3152" tIns="0" rIns="0" bIns="0" anchor="t">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lvl="0" eaLnBrk="1" hangingPunct="1">
              <a:defRPr/>
            </a:pPr>
            <a:r>
              <a:rPr lang="en-US" sz="600" dirty="0">
                <a:solidFill>
                  <a:srgbClr val="3F3F3F"/>
                </a:solidFill>
                <a:latin typeface="+mn-lt"/>
              </a:rPr>
              <a:t>Decrease significantly</a:t>
            </a:r>
          </a:p>
        </p:txBody>
      </p:sp>
      <p:sp>
        <p:nvSpPr>
          <p:cNvPr id="398" name="Rounded Rectangle 69">
            <a:extLst>
              <a:ext uri="{FF2B5EF4-FFF2-40B4-BE49-F238E27FC236}">
                <a16:creationId xmlns:a16="http://schemas.microsoft.com/office/drawing/2014/main" id="{6F048D26-AAE2-4871-AB83-0E7EB05B3D7F}"/>
              </a:ext>
            </a:extLst>
          </p:cNvPr>
          <p:cNvSpPr>
            <a:spLocks noChangeArrowheads="1"/>
          </p:cNvSpPr>
          <p:nvPr/>
        </p:nvSpPr>
        <p:spPr bwMode="auto">
          <a:xfrm>
            <a:off x="8921158" y="1924843"/>
            <a:ext cx="155448" cy="73152"/>
          </a:xfrm>
          <a:prstGeom prst="roundRect">
            <a:avLst>
              <a:gd name="adj" fmla="val 16667"/>
            </a:avLst>
          </a:prstGeom>
          <a:solidFill>
            <a:schemeClr val="accent1"/>
          </a:solidFill>
          <a:ln w="9525" algn="ctr">
            <a:noFill/>
            <a:round/>
            <a:headEnd/>
            <a:tailEnd/>
          </a:ln>
        </p:spPr>
        <p:txBody>
          <a:bodyPr wrap="none" lIns="0" tIns="0" rIns="0" bIns="0" anchor="ctr"/>
          <a:lstStyle/>
          <a:p>
            <a:pPr marL="304800" marR="0" lvl="0" indent="-304800" algn="ctr" defTabSz="914400" rtl="0" eaLnBrk="1" fontAlgn="base" latinLnBrk="0" hangingPunct="1">
              <a:lnSpc>
                <a:spcPct val="100000"/>
              </a:lnSpc>
              <a:spcBef>
                <a:spcPct val="0"/>
              </a:spcBef>
              <a:spcAft>
                <a:spcPct val="0"/>
              </a:spcAft>
              <a:buClr>
                <a:srgbClr val="52B964"/>
              </a:buClr>
              <a:buSzPct val="60000"/>
              <a:buFontTx/>
              <a:buNone/>
              <a:tabLst/>
              <a:defRPr/>
            </a:pPr>
            <a:endParaRPr kumimoji="0" lang="en-US" sz="700" b="0" i="0" u="none" strike="noStrike" kern="1200" cap="none" spc="0" normalizeH="0" baseline="0" noProof="0" dirty="0">
              <a:ln>
                <a:noFill/>
              </a:ln>
              <a:solidFill>
                <a:srgbClr val="3F3F3F"/>
              </a:solidFill>
              <a:effectLst/>
              <a:uLnTx/>
              <a:uFillTx/>
              <a:latin typeface="+mn-lt"/>
              <a:ea typeface="+mn-ea"/>
              <a:cs typeface="Arial" charset="0"/>
            </a:endParaRPr>
          </a:p>
        </p:txBody>
      </p:sp>
      <p:sp>
        <p:nvSpPr>
          <p:cNvPr id="399" name="TextBox 398">
            <a:extLst>
              <a:ext uri="{FF2B5EF4-FFF2-40B4-BE49-F238E27FC236}">
                <a16:creationId xmlns:a16="http://schemas.microsoft.com/office/drawing/2014/main" id="{6D783246-3059-4C45-9D75-D67ABA86BB3A}"/>
              </a:ext>
            </a:extLst>
          </p:cNvPr>
          <p:cNvSpPr txBox="1">
            <a:spLocks noChangeArrowheads="1"/>
          </p:cNvSpPr>
          <p:nvPr/>
        </p:nvSpPr>
        <p:spPr bwMode="auto">
          <a:xfrm>
            <a:off x="9037184" y="1912798"/>
            <a:ext cx="92829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3152" tIns="0" rIns="137160" bIns="0" anchor="t">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lvl="0" eaLnBrk="1" hangingPunct="1">
              <a:defRPr/>
            </a:pPr>
            <a:r>
              <a:rPr lang="en-US" sz="600" dirty="0">
                <a:solidFill>
                  <a:srgbClr val="3F3F3F"/>
                </a:solidFill>
                <a:latin typeface="+mn-lt"/>
              </a:rPr>
              <a:t>Increase significantly</a:t>
            </a:r>
          </a:p>
        </p:txBody>
      </p:sp>
      <p:sp>
        <p:nvSpPr>
          <p:cNvPr id="400" name="Rounded Rectangle 79">
            <a:extLst>
              <a:ext uri="{FF2B5EF4-FFF2-40B4-BE49-F238E27FC236}">
                <a16:creationId xmlns:a16="http://schemas.microsoft.com/office/drawing/2014/main" id="{B1350BAB-8BA6-4637-BEA7-ACD774F21F3F}"/>
              </a:ext>
            </a:extLst>
          </p:cNvPr>
          <p:cNvSpPr>
            <a:spLocks noChangeArrowheads="1"/>
          </p:cNvSpPr>
          <p:nvPr/>
        </p:nvSpPr>
        <p:spPr bwMode="auto">
          <a:xfrm>
            <a:off x="11174732" y="2507084"/>
            <a:ext cx="274320" cy="91440"/>
          </a:xfrm>
          <a:prstGeom prst="roundRect">
            <a:avLst>
              <a:gd name="adj" fmla="val 16667"/>
            </a:avLst>
          </a:prstGeom>
          <a:solidFill>
            <a:schemeClr val="accent3"/>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1" name="Rounded Rectangle 79">
            <a:extLst>
              <a:ext uri="{FF2B5EF4-FFF2-40B4-BE49-F238E27FC236}">
                <a16:creationId xmlns:a16="http://schemas.microsoft.com/office/drawing/2014/main" id="{D79DC164-60EE-4C42-97A8-4D5F353E1FA4}"/>
              </a:ext>
            </a:extLst>
          </p:cNvPr>
          <p:cNvSpPr>
            <a:spLocks noChangeArrowheads="1"/>
          </p:cNvSpPr>
          <p:nvPr/>
        </p:nvSpPr>
        <p:spPr bwMode="auto">
          <a:xfrm>
            <a:off x="8917051" y="2507084"/>
            <a:ext cx="274320" cy="91440"/>
          </a:xfrm>
          <a:prstGeom prst="roundRect">
            <a:avLst>
              <a:gd name="adj" fmla="val 16667"/>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2" name="Rounded Rectangle 79">
            <a:extLst>
              <a:ext uri="{FF2B5EF4-FFF2-40B4-BE49-F238E27FC236}">
                <a16:creationId xmlns:a16="http://schemas.microsoft.com/office/drawing/2014/main" id="{D4CA28E1-3F8F-4629-9A1C-5807925B3137}"/>
              </a:ext>
            </a:extLst>
          </p:cNvPr>
          <p:cNvSpPr>
            <a:spLocks noChangeArrowheads="1"/>
          </p:cNvSpPr>
          <p:nvPr/>
        </p:nvSpPr>
        <p:spPr bwMode="auto">
          <a:xfrm>
            <a:off x="10021731" y="2507084"/>
            <a:ext cx="274320" cy="91440"/>
          </a:xfrm>
          <a:prstGeom prst="roundRect">
            <a:avLst>
              <a:gd name="adj" fmla="val 16667"/>
            </a:avLst>
          </a:prstGeom>
          <a:gradFill>
            <a:gsLst>
              <a:gs pos="100000">
                <a:schemeClr val="tx2"/>
              </a:gs>
              <a:gs pos="0">
                <a:schemeClr val="accent1"/>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3" name="Rounded Rectangle 79">
            <a:extLst>
              <a:ext uri="{FF2B5EF4-FFF2-40B4-BE49-F238E27FC236}">
                <a16:creationId xmlns:a16="http://schemas.microsoft.com/office/drawing/2014/main" id="{F5A2D5C5-3878-44D9-9F2E-C26893B5DFBA}"/>
              </a:ext>
            </a:extLst>
          </p:cNvPr>
          <p:cNvSpPr>
            <a:spLocks noChangeArrowheads="1"/>
          </p:cNvSpPr>
          <p:nvPr/>
        </p:nvSpPr>
        <p:spPr bwMode="auto">
          <a:xfrm>
            <a:off x="11174732" y="2716825"/>
            <a:ext cx="274320" cy="91440"/>
          </a:xfrm>
          <a:prstGeom prst="roundRect">
            <a:avLst>
              <a:gd name="adj" fmla="val 16667"/>
            </a:avLst>
          </a:prstGeom>
          <a:solidFill>
            <a:schemeClr val="tx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4" name="Rounded Rectangle 79">
            <a:extLst>
              <a:ext uri="{FF2B5EF4-FFF2-40B4-BE49-F238E27FC236}">
                <a16:creationId xmlns:a16="http://schemas.microsoft.com/office/drawing/2014/main" id="{CFCF3114-4D6E-4982-AD15-845E249AF09F}"/>
              </a:ext>
            </a:extLst>
          </p:cNvPr>
          <p:cNvSpPr>
            <a:spLocks noChangeArrowheads="1"/>
          </p:cNvSpPr>
          <p:nvPr/>
        </p:nvSpPr>
        <p:spPr bwMode="auto">
          <a:xfrm>
            <a:off x="8917051" y="2716825"/>
            <a:ext cx="274320" cy="91440"/>
          </a:xfrm>
          <a:prstGeom prst="roundRect">
            <a:avLst>
              <a:gd name="adj" fmla="val 16667"/>
            </a:avLst>
          </a:prstGeom>
          <a:gradFill>
            <a:gsLst>
              <a:gs pos="100000">
                <a:srgbClr val="C00000"/>
              </a:gs>
              <a:gs pos="0">
                <a:schemeClr val="tx2"/>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5" name="Rounded Rectangle 79">
            <a:extLst>
              <a:ext uri="{FF2B5EF4-FFF2-40B4-BE49-F238E27FC236}">
                <a16:creationId xmlns:a16="http://schemas.microsoft.com/office/drawing/2014/main" id="{25C5A7BB-A9ED-48EE-9874-F6BB649918BD}"/>
              </a:ext>
            </a:extLst>
          </p:cNvPr>
          <p:cNvSpPr>
            <a:spLocks noChangeArrowheads="1"/>
          </p:cNvSpPr>
          <p:nvPr/>
        </p:nvSpPr>
        <p:spPr bwMode="auto">
          <a:xfrm>
            <a:off x="10021731" y="2716825"/>
            <a:ext cx="274320" cy="91440"/>
          </a:xfrm>
          <a:prstGeom prst="roundRect">
            <a:avLst>
              <a:gd name="adj" fmla="val 16667"/>
            </a:avLst>
          </a:prstGeom>
          <a:solidFill>
            <a:schemeClr val="tx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6" name="Rounded Rectangle 79">
            <a:extLst>
              <a:ext uri="{FF2B5EF4-FFF2-40B4-BE49-F238E27FC236}">
                <a16:creationId xmlns:a16="http://schemas.microsoft.com/office/drawing/2014/main" id="{878B37F1-4EC2-4453-9FEC-014DD2DAC532}"/>
              </a:ext>
            </a:extLst>
          </p:cNvPr>
          <p:cNvSpPr>
            <a:spLocks noChangeArrowheads="1"/>
          </p:cNvSpPr>
          <p:nvPr/>
        </p:nvSpPr>
        <p:spPr bwMode="auto">
          <a:xfrm>
            <a:off x="11174732" y="2936002"/>
            <a:ext cx="274320" cy="91440"/>
          </a:xfrm>
          <a:prstGeom prst="roundRect">
            <a:avLst>
              <a:gd name="adj" fmla="val 16667"/>
            </a:avLst>
          </a:prstGeom>
          <a:solidFill>
            <a:schemeClr val="tx2"/>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7" name="Rounded Rectangle 79">
            <a:extLst>
              <a:ext uri="{FF2B5EF4-FFF2-40B4-BE49-F238E27FC236}">
                <a16:creationId xmlns:a16="http://schemas.microsoft.com/office/drawing/2014/main" id="{6328CCDC-79B5-49C9-833E-F02473478B0A}"/>
              </a:ext>
            </a:extLst>
          </p:cNvPr>
          <p:cNvSpPr>
            <a:spLocks noChangeArrowheads="1"/>
          </p:cNvSpPr>
          <p:nvPr/>
        </p:nvSpPr>
        <p:spPr bwMode="auto">
          <a:xfrm>
            <a:off x="8917051" y="2936002"/>
            <a:ext cx="274320" cy="91440"/>
          </a:xfrm>
          <a:prstGeom prst="roundRect">
            <a:avLst>
              <a:gd name="adj" fmla="val 16667"/>
            </a:avLst>
          </a:prstGeom>
          <a:gradFill>
            <a:gsLst>
              <a:gs pos="100000">
                <a:schemeClr val="tx2"/>
              </a:gs>
              <a:gs pos="0">
                <a:schemeClr val="accent1"/>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8" name="Rounded Rectangle 79">
            <a:extLst>
              <a:ext uri="{FF2B5EF4-FFF2-40B4-BE49-F238E27FC236}">
                <a16:creationId xmlns:a16="http://schemas.microsoft.com/office/drawing/2014/main" id="{54240099-D059-4DEA-B006-FD3A68B73231}"/>
              </a:ext>
            </a:extLst>
          </p:cNvPr>
          <p:cNvSpPr>
            <a:spLocks noChangeArrowheads="1"/>
          </p:cNvSpPr>
          <p:nvPr/>
        </p:nvSpPr>
        <p:spPr bwMode="auto">
          <a:xfrm>
            <a:off x="10021731" y="2936002"/>
            <a:ext cx="274320" cy="91440"/>
          </a:xfrm>
          <a:prstGeom prst="roundRect">
            <a:avLst>
              <a:gd name="adj" fmla="val 16667"/>
            </a:avLst>
          </a:prstGeom>
          <a:gradFill>
            <a:gsLst>
              <a:gs pos="100000">
                <a:schemeClr val="tx2"/>
              </a:gs>
              <a:gs pos="0">
                <a:schemeClr val="accent1"/>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09" name="Rounded Rectangle 79">
            <a:extLst>
              <a:ext uri="{FF2B5EF4-FFF2-40B4-BE49-F238E27FC236}">
                <a16:creationId xmlns:a16="http://schemas.microsoft.com/office/drawing/2014/main" id="{659E1982-D90F-44AC-9DEA-088F43E5FB3D}"/>
              </a:ext>
            </a:extLst>
          </p:cNvPr>
          <p:cNvSpPr>
            <a:spLocks noChangeArrowheads="1"/>
          </p:cNvSpPr>
          <p:nvPr/>
        </p:nvSpPr>
        <p:spPr bwMode="auto">
          <a:xfrm>
            <a:off x="11174732" y="3208743"/>
            <a:ext cx="274320" cy="91440"/>
          </a:xfrm>
          <a:prstGeom prst="roundRect">
            <a:avLst>
              <a:gd name="adj" fmla="val 16667"/>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0" name="Rounded Rectangle 79">
            <a:extLst>
              <a:ext uri="{FF2B5EF4-FFF2-40B4-BE49-F238E27FC236}">
                <a16:creationId xmlns:a16="http://schemas.microsoft.com/office/drawing/2014/main" id="{0A37205D-CCC5-4BA7-ACA4-0C14B8084CE5}"/>
              </a:ext>
            </a:extLst>
          </p:cNvPr>
          <p:cNvSpPr>
            <a:spLocks noChangeArrowheads="1"/>
          </p:cNvSpPr>
          <p:nvPr/>
        </p:nvSpPr>
        <p:spPr bwMode="auto">
          <a:xfrm>
            <a:off x="8917051" y="3202455"/>
            <a:ext cx="274320" cy="91440"/>
          </a:xfrm>
          <a:prstGeom prst="roundRect">
            <a:avLst>
              <a:gd name="adj" fmla="val 16667"/>
            </a:avLst>
          </a:prstGeom>
          <a:gradFill>
            <a:gsLst>
              <a:gs pos="100000">
                <a:schemeClr val="tx2"/>
              </a:gs>
              <a:gs pos="0">
                <a:schemeClr val="accent1"/>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1" name="Rounded Rectangle 79">
            <a:extLst>
              <a:ext uri="{FF2B5EF4-FFF2-40B4-BE49-F238E27FC236}">
                <a16:creationId xmlns:a16="http://schemas.microsoft.com/office/drawing/2014/main" id="{3779A0B0-3323-455D-AB3A-505FA11B1894}"/>
              </a:ext>
            </a:extLst>
          </p:cNvPr>
          <p:cNvSpPr>
            <a:spLocks noChangeArrowheads="1"/>
          </p:cNvSpPr>
          <p:nvPr/>
        </p:nvSpPr>
        <p:spPr bwMode="auto">
          <a:xfrm>
            <a:off x="10021731" y="3198024"/>
            <a:ext cx="274320" cy="91440"/>
          </a:xfrm>
          <a:prstGeom prst="roundRect">
            <a:avLst>
              <a:gd name="adj" fmla="val 16667"/>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2" name="Rounded Rectangle 79">
            <a:extLst>
              <a:ext uri="{FF2B5EF4-FFF2-40B4-BE49-F238E27FC236}">
                <a16:creationId xmlns:a16="http://schemas.microsoft.com/office/drawing/2014/main" id="{D172D398-B2F5-4F89-80B2-AFD82D8532CB}"/>
              </a:ext>
            </a:extLst>
          </p:cNvPr>
          <p:cNvSpPr>
            <a:spLocks noChangeArrowheads="1"/>
          </p:cNvSpPr>
          <p:nvPr/>
        </p:nvSpPr>
        <p:spPr bwMode="auto">
          <a:xfrm>
            <a:off x="11174732" y="3496788"/>
            <a:ext cx="274320" cy="91440"/>
          </a:xfrm>
          <a:prstGeom prst="roundRect">
            <a:avLst>
              <a:gd name="adj" fmla="val 16667"/>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5" name="Rounded Rectangle 79">
            <a:extLst>
              <a:ext uri="{FF2B5EF4-FFF2-40B4-BE49-F238E27FC236}">
                <a16:creationId xmlns:a16="http://schemas.microsoft.com/office/drawing/2014/main" id="{01974B92-5DAD-49B8-892A-3477FF261D04}"/>
              </a:ext>
            </a:extLst>
          </p:cNvPr>
          <p:cNvSpPr>
            <a:spLocks noChangeArrowheads="1"/>
          </p:cNvSpPr>
          <p:nvPr/>
        </p:nvSpPr>
        <p:spPr bwMode="auto">
          <a:xfrm>
            <a:off x="11174732" y="3807787"/>
            <a:ext cx="274320" cy="91440"/>
          </a:xfrm>
          <a:prstGeom prst="roundRect">
            <a:avLst>
              <a:gd name="adj" fmla="val 16667"/>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6" name="Rounded Rectangle 79">
            <a:extLst>
              <a:ext uri="{FF2B5EF4-FFF2-40B4-BE49-F238E27FC236}">
                <a16:creationId xmlns:a16="http://schemas.microsoft.com/office/drawing/2014/main" id="{0B151825-6DB1-409A-A7E5-E009A1279F1A}"/>
              </a:ext>
            </a:extLst>
          </p:cNvPr>
          <p:cNvSpPr>
            <a:spLocks noChangeArrowheads="1"/>
          </p:cNvSpPr>
          <p:nvPr/>
        </p:nvSpPr>
        <p:spPr bwMode="auto">
          <a:xfrm>
            <a:off x="8917051" y="3807787"/>
            <a:ext cx="274320" cy="91440"/>
          </a:xfrm>
          <a:prstGeom prst="roundRect">
            <a:avLst>
              <a:gd name="adj" fmla="val 16667"/>
            </a:avLst>
          </a:prstGeom>
          <a:solidFill>
            <a:schemeClr val="accent3"/>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7" name="Rounded Rectangle 79">
            <a:extLst>
              <a:ext uri="{FF2B5EF4-FFF2-40B4-BE49-F238E27FC236}">
                <a16:creationId xmlns:a16="http://schemas.microsoft.com/office/drawing/2014/main" id="{43B5E308-CDA5-4512-9BC9-42DCDA210EB1}"/>
              </a:ext>
            </a:extLst>
          </p:cNvPr>
          <p:cNvSpPr>
            <a:spLocks noChangeArrowheads="1"/>
          </p:cNvSpPr>
          <p:nvPr/>
        </p:nvSpPr>
        <p:spPr bwMode="auto">
          <a:xfrm>
            <a:off x="10021731" y="3807787"/>
            <a:ext cx="274320" cy="91440"/>
          </a:xfrm>
          <a:prstGeom prst="roundRect">
            <a:avLst>
              <a:gd name="adj" fmla="val 16667"/>
            </a:avLst>
          </a:prstGeom>
          <a:gradFill>
            <a:gsLst>
              <a:gs pos="100000">
                <a:srgbClr val="C00000"/>
              </a:gs>
              <a:gs pos="0">
                <a:schemeClr val="tx2"/>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8" name="Rounded Rectangle 79">
            <a:extLst>
              <a:ext uri="{FF2B5EF4-FFF2-40B4-BE49-F238E27FC236}">
                <a16:creationId xmlns:a16="http://schemas.microsoft.com/office/drawing/2014/main" id="{0555F3D8-FE2F-4566-A144-DFA680131ADC}"/>
              </a:ext>
            </a:extLst>
          </p:cNvPr>
          <p:cNvSpPr>
            <a:spLocks noChangeArrowheads="1"/>
          </p:cNvSpPr>
          <p:nvPr/>
        </p:nvSpPr>
        <p:spPr bwMode="auto">
          <a:xfrm>
            <a:off x="8917051" y="3497470"/>
            <a:ext cx="274320" cy="91440"/>
          </a:xfrm>
          <a:prstGeom prst="roundRect">
            <a:avLst>
              <a:gd name="adj" fmla="val 16667"/>
            </a:avLst>
          </a:prstGeom>
          <a:gradFill>
            <a:gsLst>
              <a:gs pos="100000">
                <a:srgbClr val="C00000"/>
              </a:gs>
              <a:gs pos="0">
                <a:schemeClr val="tx2"/>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19" name="Rounded Rectangle 79">
            <a:extLst>
              <a:ext uri="{FF2B5EF4-FFF2-40B4-BE49-F238E27FC236}">
                <a16:creationId xmlns:a16="http://schemas.microsoft.com/office/drawing/2014/main" id="{2894637F-A8B3-48A3-A17B-2247953159C4}"/>
              </a:ext>
            </a:extLst>
          </p:cNvPr>
          <p:cNvSpPr>
            <a:spLocks noChangeArrowheads="1"/>
          </p:cNvSpPr>
          <p:nvPr/>
        </p:nvSpPr>
        <p:spPr bwMode="auto">
          <a:xfrm>
            <a:off x="10021731" y="3491569"/>
            <a:ext cx="274320" cy="91440"/>
          </a:xfrm>
          <a:prstGeom prst="roundRect">
            <a:avLst>
              <a:gd name="adj" fmla="val 16667"/>
            </a:avLst>
          </a:prstGeom>
          <a:gradFill>
            <a:gsLst>
              <a:gs pos="100000">
                <a:schemeClr val="tx2"/>
              </a:gs>
              <a:gs pos="0">
                <a:schemeClr val="accent1"/>
              </a:gs>
            </a:gsLst>
            <a:lin ang="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lgn="ctr" eaLnBrk="0" hangingPunct="0">
              <a:buClr>
                <a:srgbClr val="52B964"/>
              </a:buClr>
              <a:buSzPct val="60000"/>
            </a:pPr>
            <a:endParaRPr lang="en-US" sz="900" dirty="0">
              <a:solidFill>
                <a:srgbClr val="FFFFFF"/>
              </a:solidFill>
            </a:endParaRPr>
          </a:p>
        </p:txBody>
      </p:sp>
      <p:sp>
        <p:nvSpPr>
          <p:cNvPr id="421" name="TextBox 420">
            <a:extLst>
              <a:ext uri="{FF2B5EF4-FFF2-40B4-BE49-F238E27FC236}">
                <a16:creationId xmlns:a16="http://schemas.microsoft.com/office/drawing/2014/main" id="{E6B06047-6B89-4F75-BFB7-402074AE621F}"/>
              </a:ext>
            </a:extLst>
          </p:cNvPr>
          <p:cNvSpPr txBox="1"/>
          <p:nvPr/>
        </p:nvSpPr>
        <p:spPr>
          <a:xfrm>
            <a:off x="758301" y="4607618"/>
            <a:ext cx="494045" cy="92333"/>
          </a:xfrm>
          <a:prstGeom prst="rect">
            <a:avLst/>
          </a:prstGeom>
          <a:noFill/>
        </p:spPr>
        <p:txBody>
          <a:bodyPr wrap="square" lIns="0" tIns="0" rIns="0" bIns="0" rtlCol="0">
            <a:spAutoFit/>
          </a:bodyPr>
          <a:lstStyle/>
          <a:p>
            <a:r>
              <a:rPr lang="en-US" sz="600" b="1" dirty="0">
                <a:latin typeface="+mn-lt"/>
                <a:cs typeface="Calibri" panose="020F0502020204030204" pitchFamily="34" charset="0"/>
              </a:rPr>
              <a:t>taffing</a:t>
            </a:r>
            <a:endParaRPr lang="en-IN" sz="600" dirty="0">
              <a:latin typeface="+mn-lt"/>
              <a:cs typeface="Calibri" panose="020F0502020204030204" pitchFamily="34" charset="0"/>
            </a:endParaRPr>
          </a:p>
        </p:txBody>
      </p:sp>
      <p:sp>
        <p:nvSpPr>
          <p:cNvPr id="423" name="TextBox 422">
            <a:extLst>
              <a:ext uri="{FF2B5EF4-FFF2-40B4-BE49-F238E27FC236}">
                <a16:creationId xmlns:a16="http://schemas.microsoft.com/office/drawing/2014/main" id="{52E67085-5294-42F7-80CA-645EF3C7298D}"/>
              </a:ext>
            </a:extLst>
          </p:cNvPr>
          <p:cNvSpPr txBox="1"/>
          <p:nvPr/>
        </p:nvSpPr>
        <p:spPr>
          <a:xfrm>
            <a:off x="739252" y="4961486"/>
            <a:ext cx="755646" cy="92333"/>
          </a:xfrm>
          <a:prstGeom prst="rect">
            <a:avLst/>
          </a:prstGeom>
          <a:noFill/>
        </p:spPr>
        <p:txBody>
          <a:bodyPr wrap="square" lIns="0" tIns="0" rIns="0" bIns="0" rtlCol="0">
            <a:spAutoFit/>
          </a:bodyPr>
          <a:lstStyle/>
          <a:p>
            <a:r>
              <a:rPr lang="en-US" sz="600" b="1" dirty="0">
                <a:latin typeface="+mn-lt"/>
                <a:cs typeface="Calibri" panose="020F0502020204030204" pitchFamily="34" charset="0"/>
              </a:rPr>
              <a:t>egacy aggregators</a:t>
            </a:r>
          </a:p>
        </p:txBody>
      </p:sp>
      <p:sp>
        <p:nvSpPr>
          <p:cNvPr id="425" name="TextBox 424">
            <a:extLst>
              <a:ext uri="{FF2B5EF4-FFF2-40B4-BE49-F238E27FC236}">
                <a16:creationId xmlns:a16="http://schemas.microsoft.com/office/drawing/2014/main" id="{4F3BD9B7-322A-4D2E-9FA1-7AF628DD5106}"/>
              </a:ext>
            </a:extLst>
          </p:cNvPr>
          <p:cNvSpPr txBox="1"/>
          <p:nvPr/>
        </p:nvSpPr>
        <p:spPr>
          <a:xfrm>
            <a:off x="758301" y="5351294"/>
            <a:ext cx="930315" cy="92333"/>
          </a:xfrm>
          <a:prstGeom prst="rect">
            <a:avLst/>
          </a:prstGeom>
          <a:noFill/>
        </p:spPr>
        <p:txBody>
          <a:bodyPr wrap="square" lIns="0" tIns="0" rIns="0" bIns="0" rtlCol="0">
            <a:spAutoFit/>
          </a:bodyPr>
          <a:lstStyle/>
          <a:p>
            <a:r>
              <a:rPr lang="en-US" sz="600" b="1" dirty="0">
                <a:latin typeface="+mn-lt"/>
                <a:cs typeface="Calibri" panose="020F0502020204030204" pitchFamily="34" charset="0"/>
              </a:rPr>
              <a:t>rchestrators</a:t>
            </a:r>
          </a:p>
        </p:txBody>
      </p:sp>
      <p:sp>
        <p:nvSpPr>
          <p:cNvPr id="427" name="TextBox 426">
            <a:extLst>
              <a:ext uri="{FF2B5EF4-FFF2-40B4-BE49-F238E27FC236}">
                <a16:creationId xmlns:a16="http://schemas.microsoft.com/office/drawing/2014/main" id="{6371550F-5915-4D86-9C95-EE8B7C7DDF09}"/>
              </a:ext>
            </a:extLst>
          </p:cNvPr>
          <p:cNvSpPr txBox="1"/>
          <p:nvPr/>
        </p:nvSpPr>
        <p:spPr>
          <a:xfrm>
            <a:off x="758301" y="5677440"/>
            <a:ext cx="930315" cy="184666"/>
          </a:xfrm>
          <a:prstGeom prst="rect">
            <a:avLst/>
          </a:prstGeom>
          <a:noFill/>
        </p:spPr>
        <p:txBody>
          <a:bodyPr wrap="square" lIns="0" tIns="0" rIns="0" bIns="0" rtlCol="0">
            <a:spAutoFit/>
          </a:bodyPr>
          <a:lstStyle/>
          <a:p>
            <a:r>
              <a:rPr lang="en-US" sz="600" b="1" dirty="0">
                <a:latin typeface="+mn-lt"/>
                <a:cs typeface="Calibri" panose="020F0502020204030204" pitchFamily="34" charset="0"/>
              </a:rPr>
              <a:t>ransformational </a:t>
            </a:r>
          </a:p>
          <a:p>
            <a:r>
              <a:rPr lang="en-US" sz="600" b="1" dirty="0">
                <a:latin typeface="+mn-lt"/>
                <a:cs typeface="Calibri" panose="020F0502020204030204" pitchFamily="34" charset="0"/>
              </a:rPr>
              <a:t>partners</a:t>
            </a:r>
            <a:endParaRPr lang="en-IN" sz="600" dirty="0">
              <a:latin typeface="+mn-lt"/>
              <a:cs typeface="Calibri" panose="020F0502020204030204" pitchFamily="34" charset="0"/>
            </a:endParaRPr>
          </a:p>
        </p:txBody>
      </p:sp>
      <p:sp>
        <p:nvSpPr>
          <p:cNvPr id="429" name="TextBox 428">
            <a:extLst>
              <a:ext uri="{FF2B5EF4-FFF2-40B4-BE49-F238E27FC236}">
                <a16:creationId xmlns:a16="http://schemas.microsoft.com/office/drawing/2014/main" id="{594E66F4-E4A3-4974-A88B-2DE31158866C}"/>
              </a:ext>
            </a:extLst>
          </p:cNvPr>
          <p:cNvSpPr txBox="1"/>
          <p:nvPr/>
        </p:nvSpPr>
        <p:spPr>
          <a:xfrm>
            <a:off x="758301" y="6074515"/>
            <a:ext cx="930315" cy="92333"/>
          </a:xfrm>
          <a:prstGeom prst="rect">
            <a:avLst/>
          </a:prstGeom>
          <a:noFill/>
        </p:spPr>
        <p:txBody>
          <a:bodyPr wrap="square" lIns="0" tIns="0" rIns="0" bIns="0" rtlCol="0">
            <a:spAutoFit/>
          </a:bodyPr>
          <a:lstStyle/>
          <a:p>
            <a:r>
              <a:rPr lang="en-US" sz="600" b="1" dirty="0">
                <a:latin typeface="+mn-lt"/>
                <a:cs typeface="Calibri" panose="020F0502020204030204" pitchFamily="34" charset="0"/>
              </a:rPr>
              <a:t>pecialists</a:t>
            </a:r>
          </a:p>
        </p:txBody>
      </p:sp>
      <p:grpSp>
        <p:nvGrpSpPr>
          <p:cNvPr id="431" name="Group 430">
            <a:extLst>
              <a:ext uri="{FF2B5EF4-FFF2-40B4-BE49-F238E27FC236}">
                <a16:creationId xmlns:a16="http://schemas.microsoft.com/office/drawing/2014/main" id="{F65ACBAA-1C23-4712-80CF-90A0DFBE3F5D}"/>
              </a:ext>
            </a:extLst>
          </p:cNvPr>
          <p:cNvGrpSpPr/>
          <p:nvPr/>
        </p:nvGrpSpPr>
        <p:grpSpPr>
          <a:xfrm>
            <a:off x="10671690" y="4290399"/>
            <a:ext cx="1023796" cy="178131"/>
            <a:chOff x="9943393" y="1661497"/>
            <a:chExt cx="1964515" cy="354526"/>
          </a:xfrm>
        </p:grpSpPr>
        <p:sp>
          <p:nvSpPr>
            <p:cNvPr id="432" name="Arrow: Right 431">
              <a:extLst>
                <a:ext uri="{FF2B5EF4-FFF2-40B4-BE49-F238E27FC236}">
                  <a16:creationId xmlns:a16="http://schemas.microsoft.com/office/drawing/2014/main" id="{CE2F799B-3C80-4328-B535-DB0DE62F447D}"/>
                </a:ext>
              </a:extLst>
            </p:cNvPr>
            <p:cNvSpPr/>
            <p:nvPr/>
          </p:nvSpPr>
          <p:spPr bwMode="auto">
            <a:xfrm>
              <a:off x="9943393" y="1661497"/>
              <a:ext cx="1962857" cy="167303"/>
            </a:xfrm>
            <a:prstGeom prst="rightArrow">
              <a:avLst>
                <a:gd name="adj1" fmla="val 100000"/>
                <a:gd name="adj2" fmla="val 0"/>
              </a:avLst>
            </a:prstGeom>
            <a:gradFill>
              <a:gsLst>
                <a:gs pos="61000">
                  <a:schemeClr val="accent5">
                    <a:lumMod val="75000"/>
                  </a:schemeClr>
                </a:gs>
                <a:gs pos="0">
                  <a:schemeClr val="accent5">
                    <a:lumMod val="20000"/>
                    <a:lumOff val="80000"/>
                  </a:schemeClr>
                </a:gs>
                <a:gs pos="100000">
                  <a:schemeClr val="accent2"/>
                </a:gs>
              </a:gsLst>
              <a:lin ang="540000" scaled="0"/>
            </a:gra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304800" indent="-304800">
                <a:buClr>
                  <a:schemeClr val="accent1"/>
                </a:buClr>
                <a:buSzPct val="60000"/>
              </a:pPr>
              <a:endParaRPr lang="en-US" sz="500" dirty="0"/>
            </a:p>
          </p:txBody>
        </p:sp>
        <p:grpSp>
          <p:nvGrpSpPr>
            <p:cNvPr id="433" name="Group 432">
              <a:extLst>
                <a:ext uri="{FF2B5EF4-FFF2-40B4-BE49-F238E27FC236}">
                  <a16:creationId xmlns:a16="http://schemas.microsoft.com/office/drawing/2014/main" id="{D068D421-6528-42CD-B944-74CE16EE026F}"/>
                </a:ext>
              </a:extLst>
            </p:cNvPr>
            <p:cNvGrpSpPr/>
            <p:nvPr/>
          </p:nvGrpSpPr>
          <p:grpSpPr>
            <a:xfrm>
              <a:off x="9954430" y="1862884"/>
              <a:ext cx="1953478" cy="153139"/>
              <a:chOff x="9847921" y="1897174"/>
              <a:chExt cx="2029648" cy="153139"/>
            </a:xfrm>
          </p:grpSpPr>
          <p:sp>
            <p:nvSpPr>
              <p:cNvPr id="434" name="Rectangle 433">
                <a:extLst>
                  <a:ext uri="{FF2B5EF4-FFF2-40B4-BE49-F238E27FC236}">
                    <a16:creationId xmlns:a16="http://schemas.microsoft.com/office/drawing/2014/main" id="{F2B0326C-2047-4907-9B1C-99749ACC5D21}"/>
                  </a:ext>
                </a:extLst>
              </p:cNvPr>
              <p:cNvSpPr/>
              <p:nvPr/>
            </p:nvSpPr>
            <p:spPr>
              <a:xfrm>
                <a:off x="9847921" y="1897174"/>
                <a:ext cx="191751" cy="153139"/>
              </a:xfrm>
              <a:prstGeom prst="rect">
                <a:avLst/>
              </a:prstGeom>
            </p:spPr>
            <p:txBody>
              <a:bodyPr wrap="none" lIns="0" tIns="0" rIns="0" bIns="0">
                <a:spAutoFit/>
              </a:bodyPr>
              <a:lstStyle/>
              <a:p>
                <a:r>
                  <a:rPr lang="en-US" sz="500" dirty="0"/>
                  <a:t>low</a:t>
                </a:r>
              </a:p>
            </p:txBody>
          </p:sp>
          <p:sp>
            <p:nvSpPr>
              <p:cNvPr id="435" name="Rectangle 434">
                <a:extLst>
                  <a:ext uri="{FF2B5EF4-FFF2-40B4-BE49-F238E27FC236}">
                    <a16:creationId xmlns:a16="http://schemas.microsoft.com/office/drawing/2014/main" id="{742259B4-AA6B-432A-8C98-FE081E6233E9}"/>
                  </a:ext>
                </a:extLst>
              </p:cNvPr>
              <p:cNvSpPr/>
              <p:nvPr/>
            </p:nvSpPr>
            <p:spPr>
              <a:xfrm>
                <a:off x="11637878" y="1897174"/>
                <a:ext cx="239691" cy="153139"/>
              </a:xfrm>
              <a:prstGeom prst="rect">
                <a:avLst/>
              </a:prstGeom>
            </p:spPr>
            <p:txBody>
              <a:bodyPr wrap="none" lIns="0" tIns="0" rIns="0" bIns="0">
                <a:spAutoFit/>
              </a:bodyPr>
              <a:lstStyle/>
              <a:p>
                <a:r>
                  <a:rPr lang="en-US" sz="500" dirty="0"/>
                  <a:t>high</a:t>
                </a:r>
              </a:p>
            </p:txBody>
          </p:sp>
          <p:sp>
            <p:nvSpPr>
              <p:cNvPr id="436" name="Rectangle 435">
                <a:extLst>
                  <a:ext uri="{FF2B5EF4-FFF2-40B4-BE49-F238E27FC236}">
                    <a16:creationId xmlns:a16="http://schemas.microsoft.com/office/drawing/2014/main" id="{12F04BBB-46D6-448D-A604-FBC43C9AD9E5}"/>
                  </a:ext>
                </a:extLst>
              </p:cNvPr>
              <p:cNvSpPr/>
              <p:nvPr/>
            </p:nvSpPr>
            <p:spPr>
              <a:xfrm>
                <a:off x="10611454" y="1897174"/>
                <a:ext cx="450618" cy="153139"/>
              </a:xfrm>
              <a:prstGeom prst="rect">
                <a:avLst/>
              </a:prstGeom>
            </p:spPr>
            <p:txBody>
              <a:bodyPr wrap="none" lIns="0" tIns="0" rIns="0" bIns="0">
                <a:spAutoFit/>
              </a:bodyPr>
              <a:lstStyle/>
              <a:p>
                <a:r>
                  <a:rPr lang="en-US" sz="500" dirty="0"/>
                  <a:t>medium</a:t>
                </a:r>
              </a:p>
            </p:txBody>
          </p:sp>
        </p:grpSp>
      </p:grpSp>
      <p:grpSp>
        <p:nvGrpSpPr>
          <p:cNvPr id="438" name="Group 437">
            <a:extLst>
              <a:ext uri="{FF2B5EF4-FFF2-40B4-BE49-F238E27FC236}">
                <a16:creationId xmlns:a16="http://schemas.microsoft.com/office/drawing/2014/main" id="{97E2CD95-1B50-4EFB-AF1D-ABC6754E9A4B}"/>
              </a:ext>
            </a:extLst>
          </p:cNvPr>
          <p:cNvGrpSpPr/>
          <p:nvPr/>
        </p:nvGrpSpPr>
        <p:grpSpPr>
          <a:xfrm>
            <a:off x="6459139" y="4332429"/>
            <a:ext cx="5421410" cy="1742114"/>
            <a:chOff x="930481" y="2448236"/>
            <a:chExt cx="11224154" cy="3312002"/>
          </a:xfrm>
        </p:grpSpPr>
        <p:cxnSp>
          <p:nvCxnSpPr>
            <p:cNvPr id="439" name="Straight Arrow Connector 438">
              <a:extLst>
                <a:ext uri="{FF2B5EF4-FFF2-40B4-BE49-F238E27FC236}">
                  <a16:creationId xmlns:a16="http://schemas.microsoft.com/office/drawing/2014/main" id="{FA168949-A1DE-480A-B795-371E55AD1BE8}"/>
                </a:ext>
              </a:extLst>
            </p:cNvPr>
            <p:cNvCxnSpPr>
              <a:cxnSpLocks/>
            </p:cNvCxnSpPr>
            <p:nvPr/>
          </p:nvCxnSpPr>
          <p:spPr bwMode="auto">
            <a:xfrm>
              <a:off x="930481" y="5760238"/>
              <a:ext cx="11224154" cy="0"/>
            </a:xfrm>
            <a:prstGeom prst="straightConnector1">
              <a:avLst/>
            </a:prstGeom>
            <a:noFill/>
            <a:ln w="6350" cap="flat" cmpd="sng" algn="ctr">
              <a:solidFill>
                <a:schemeClr val="tx1"/>
              </a:solidFill>
              <a:prstDash val="solid"/>
              <a:round/>
              <a:headEnd type="none" w="med" len="med"/>
              <a:tailEnd type="triangle"/>
            </a:ln>
            <a:effectLst/>
          </p:spPr>
        </p:cxnSp>
        <p:cxnSp>
          <p:nvCxnSpPr>
            <p:cNvPr id="440" name="Straight Arrow Connector 439">
              <a:extLst>
                <a:ext uri="{FF2B5EF4-FFF2-40B4-BE49-F238E27FC236}">
                  <a16:creationId xmlns:a16="http://schemas.microsoft.com/office/drawing/2014/main" id="{51B901AA-AD82-40F7-8E2C-684245A255E6}"/>
                </a:ext>
              </a:extLst>
            </p:cNvPr>
            <p:cNvCxnSpPr>
              <a:cxnSpLocks/>
            </p:cNvCxnSpPr>
            <p:nvPr/>
          </p:nvCxnSpPr>
          <p:spPr bwMode="auto">
            <a:xfrm flipV="1">
              <a:off x="930481" y="2448236"/>
              <a:ext cx="0" cy="3312002"/>
            </a:xfrm>
            <a:prstGeom prst="straightConnector1">
              <a:avLst/>
            </a:prstGeom>
            <a:noFill/>
            <a:ln w="6350" cap="flat" cmpd="sng" algn="ctr">
              <a:solidFill>
                <a:schemeClr val="tx1"/>
              </a:solidFill>
              <a:prstDash val="solid"/>
              <a:round/>
              <a:headEnd type="none" w="med" len="med"/>
              <a:tailEnd type="triangle"/>
            </a:ln>
            <a:effectLst/>
          </p:spPr>
        </p:cxnSp>
      </p:grpSp>
      <p:sp>
        <p:nvSpPr>
          <p:cNvPr id="114" name="Freeform: Shape 61">
            <a:extLst>
              <a:ext uri="{FF2B5EF4-FFF2-40B4-BE49-F238E27FC236}">
                <a16:creationId xmlns:a16="http://schemas.microsoft.com/office/drawing/2014/main" id="{3B01A840-954F-A94E-9FC5-6E3708998996}"/>
              </a:ext>
            </a:extLst>
          </p:cNvPr>
          <p:cNvSpPr>
            <a:spLocks noChangeAspect="1"/>
          </p:cNvSpPr>
          <p:nvPr/>
        </p:nvSpPr>
        <p:spPr bwMode="auto">
          <a:xfrm rot="8112469">
            <a:off x="2521175" y="2932139"/>
            <a:ext cx="237760" cy="237679"/>
          </a:xfrm>
          <a:custGeom>
            <a:avLst/>
            <a:gdLst>
              <a:gd name="connsiteX0" fmla="*/ 2415064 w 2784501"/>
              <a:gd name="connsiteY0" fmla="*/ 1209725 h 2783550"/>
              <a:gd name="connsiteX1" fmla="*/ 2497836 w 2784501"/>
              <a:gd name="connsiteY1" fmla="*/ 1230148 h 2783550"/>
              <a:gd name="connsiteX2" fmla="*/ 2583547 w 2784501"/>
              <a:gd name="connsiteY2" fmla="*/ 1242199 h 2783550"/>
              <a:gd name="connsiteX3" fmla="*/ 2581490 w 2784501"/>
              <a:gd name="connsiteY3" fmla="*/ 1220855 h 2783550"/>
              <a:gd name="connsiteX4" fmla="*/ 2489713 w 2784501"/>
              <a:gd name="connsiteY4" fmla="*/ 901426 h 2783550"/>
              <a:gd name="connsiteX5" fmla="*/ 2476443 w 2784501"/>
              <a:gd name="connsiteY5" fmla="*/ 874275 h 2783550"/>
              <a:gd name="connsiteX6" fmla="*/ 2474554 w 2784501"/>
              <a:gd name="connsiteY6" fmla="*/ 904034 h 2783550"/>
              <a:gd name="connsiteX7" fmla="*/ 2421495 w 2784501"/>
              <a:gd name="connsiteY7" fmla="*/ 1189131 h 2783550"/>
              <a:gd name="connsiteX8" fmla="*/ 1811382 w 2784501"/>
              <a:gd name="connsiteY8" fmla="*/ 831860 h 2783550"/>
              <a:gd name="connsiteX9" fmla="*/ 2149938 w 2784501"/>
              <a:gd name="connsiteY9" fmla="*/ 490840 h 2783550"/>
              <a:gd name="connsiteX10" fmla="*/ 2122990 w 2784501"/>
              <a:gd name="connsiteY10" fmla="*/ 487920 h 2783550"/>
              <a:gd name="connsiteX11" fmla="*/ 1704328 w 2784501"/>
              <a:gd name="connsiteY11" fmla="*/ 520186 h 2783550"/>
              <a:gd name="connsiteX12" fmla="*/ 1626769 w 2784501"/>
              <a:gd name="connsiteY12" fmla="*/ 540548 h 2783550"/>
              <a:gd name="connsiteX13" fmla="*/ 1651748 w 2784501"/>
              <a:gd name="connsiteY13" fmla="*/ 593446 h 2783550"/>
              <a:gd name="connsiteX14" fmla="*/ 1757223 w 2784501"/>
              <a:gd name="connsiteY14" fmla="*/ 764240 h 2783550"/>
              <a:gd name="connsiteX15" fmla="*/ 1948642 w 2784501"/>
              <a:gd name="connsiteY15" fmla="*/ 968128 h 2783550"/>
              <a:gd name="connsiteX16" fmla="*/ 2016652 w 2784501"/>
              <a:gd name="connsiteY16" fmla="*/ 1021793 h 2783550"/>
              <a:gd name="connsiteX17" fmla="*/ 2188206 w 2784501"/>
              <a:gd name="connsiteY17" fmla="*/ 1126027 h 2783550"/>
              <a:gd name="connsiteX18" fmla="*/ 2228152 w 2784501"/>
              <a:gd name="connsiteY18" fmla="*/ 1144537 h 2783550"/>
              <a:gd name="connsiteX19" fmla="*/ 2228565 w 2784501"/>
              <a:gd name="connsiteY19" fmla="*/ 1143241 h 2783550"/>
              <a:gd name="connsiteX20" fmla="*/ 2278659 w 2784501"/>
              <a:gd name="connsiteY20" fmla="*/ 642463 h 2783550"/>
              <a:gd name="connsiteX21" fmla="*/ 2277959 w 2784501"/>
              <a:gd name="connsiteY21" fmla="*/ 636412 h 2783550"/>
              <a:gd name="connsiteX22" fmla="*/ 1113626 w 2784501"/>
              <a:gd name="connsiteY22" fmla="*/ 640622 h 2783550"/>
              <a:gd name="connsiteX23" fmla="*/ 1324679 w 2784501"/>
              <a:gd name="connsiteY23" fmla="*/ 642193 h 2783550"/>
              <a:gd name="connsiteX24" fmla="*/ 1321576 w 2784501"/>
              <a:gd name="connsiteY24" fmla="*/ 431157 h 2783550"/>
              <a:gd name="connsiteX25" fmla="*/ 1110523 w 2784501"/>
              <a:gd name="connsiteY25" fmla="*/ 429585 h 2783550"/>
              <a:gd name="connsiteX26" fmla="*/ 1113626 w 2784501"/>
              <a:gd name="connsiteY26" fmla="*/ 640622 h 2783550"/>
              <a:gd name="connsiteX27" fmla="*/ 1007071 w 2784501"/>
              <a:gd name="connsiteY27" fmla="*/ 741890 h 2783550"/>
              <a:gd name="connsiteX28" fmla="*/ 921022 w 2784501"/>
              <a:gd name="connsiteY28" fmla="*/ 538700 h 2783550"/>
              <a:gd name="connsiteX29" fmla="*/ 1214811 w 2784501"/>
              <a:gd name="connsiteY29" fmla="*/ 251347 h 2783550"/>
              <a:gd name="connsiteX30" fmla="*/ 1508599 w 2784501"/>
              <a:gd name="connsiteY30" fmla="*/ 251347 h 2783550"/>
              <a:gd name="connsiteX31" fmla="*/ 1508599 w 2784501"/>
              <a:gd name="connsiteY31" fmla="*/ 538700 h 2783550"/>
              <a:gd name="connsiteX32" fmla="*/ 1214810 w 2784501"/>
              <a:gd name="connsiteY32" fmla="*/ 826053 h 2783550"/>
              <a:gd name="connsiteX33" fmla="*/ 1007071 w 2784501"/>
              <a:gd name="connsiteY33" fmla="*/ 741890 h 2783550"/>
              <a:gd name="connsiteX34" fmla="*/ 1893205 w 2784501"/>
              <a:gd name="connsiteY34" fmla="*/ 1694910 h 2783550"/>
              <a:gd name="connsiteX35" fmla="*/ 2104258 w 2784501"/>
              <a:gd name="connsiteY35" fmla="*/ 1696481 h 2783550"/>
              <a:gd name="connsiteX36" fmla="*/ 2101155 w 2784501"/>
              <a:gd name="connsiteY36" fmla="*/ 1485445 h 2783550"/>
              <a:gd name="connsiteX37" fmla="*/ 1890102 w 2784501"/>
              <a:gd name="connsiteY37" fmla="*/ 1483874 h 2783550"/>
              <a:gd name="connsiteX38" fmla="*/ 1893205 w 2784501"/>
              <a:gd name="connsiteY38" fmla="*/ 1694910 h 2783550"/>
              <a:gd name="connsiteX39" fmla="*/ 1392728 w 2784501"/>
              <a:gd name="connsiteY39" fmla="*/ 1253562 h 2783550"/>
              <a:gd name="connsiteX40" fmla="*/ 1675218 w 2784501"/>
              <a:gd name="connsiteY40" fmla="*/ 969016 h 2783550"/>
              <a:gd name="connsiteX41" fmla="*/ 1666551 w 2784501"/>
              <a:gd name="connsiteY41" fmla="*/ 959720 h 2783550"/>
              <a:gd name="connsiteX42" fmla="*/ 1553847 w 2784501"/>
              <a:gd name="connsiteY42" fmla="*/ 809668 h 2783550"/>
              <a:gd name="connsiteX43" fmla="*/ 1515655 w 2784501"/>
              <a:gd name="connsiteY43" fmla="*/ 741397 h 2783550"/>
              <a:gd name="connsiteX44" fmla="*/ 1517982 w 2784501"/>
              <a:gd name="connsiteY44" fmla="*/ 738640 h 2783550"/>
              <a:gd name="connsiteX45" fmla="*/ 1580423 w 2784501"/>
              <a:gd name="connsiteY45" fmla="*/ 538699 h 2783550"/>
              <a:gd name="connsiteX46" fmla="*/ 1580423 w 2784501"/>
              <a:gd name="connsiteY46" fmla="*/ 347820 h 2783550"/>
              <a:gd name="connsiteX47" fmla="*/ 1716534 w 2784501"/>
              <a:gd name="connsiteY47" fmla="*/ 315077 h 2783550"/>
              <a:gd name="connsiteX48" fmla="*/ 1860005 w 2784501"/>
              <a:gd name="connsiteY48" fmla="*/ 293927 h 2783550"/>
              <a:gd name="connsiteX49" fmla="*/ 1878893 w 2784501"/>
              <a:gd name="connsiteY49" fmla="*/ 292591 h 2783550"/>
              <a:gd name="connsiteX50" fmla="*/ 1874156 w 2784501"/>
              <a:gd name="connsiteY50" fmla="*/ 290318 h 2783550"/>
              <a:gd name="connsiteX51" fmla="*/ 1716597 w 2784501"/>
              <a:gd name="connsiteY51" fmla="*/ 234261 h 2783550"/>
              <a:gd name="connsiteX52" fmla="*/ 1580423 w 2784501"/>
              <a:gd name="connsiteY52" fmla="*/ 206277 h 2783550"/>
              <a:gd name="connsiteX53" fmla="*/ 1580423 w 2784501"/>
              <a:gd name="connsiteY53" fmla="*/ 181097 h 2783550"/>
              <a:gd name="connsiteX54" fmla="*/ 1214811 w 2784501"/>
              <a:gd name="connsiteY54" fmla="*/ 181097 h 2783550"/>
              <a:gd name="connsiteX55" fmla="*/ 1010393 w 2784501"/>
              <a:gd name="connsiteY55" fmla="*/ 242170 h 2783550"/>
              <a:gd name="connsiteX56" fmla="*/ 981403 w 2784501"/>
              <a:gd name="connsiteY56" fmla="*/ 265565 h 2783550"/>
              <a:gd name="connsiteX57" fmla="*/ 917323 w 2784501"/>
              <a:gd name="connsiteY57" fmla="*/ 288138 h 2783550"/>
              <a:gd name="connsiteX58" fmla="*/ 632323 w 2784501"/>
              <a:gd name="connsiteY58" fmla="*/ 462001 h 2783550"/>
              <a:gd name="connsiteX59" fmla="*/ 613066 w 2784501"/>
              <a:gd name="connsiteY59" fmla="*/ 479535 h 2783550"/>
              <a:gd name="connsiteX60" fmla="*/ 882768 w 2784501"/>
              <a:gd name="connsiteY60" fmla="*/ 747288 h 2783550"/>
              <a:gd name="connsiteX61" fmla="*/ 896306 w 2784501"/>
              <a:gd name="connsiteY61" fmla="*/ 733970 h 2783550"/>
              <a:gd name="connsiteX62" fmla="*/ 904926 w 2784501"/>
              <a:gd name="connsiteY62" fmla="*/ 726544 h 2783550"/>
              <a:gd name="connsiteX63" fmla="*/ 911637 w 2784501"/>
              <a:gd name="connsiteY63" fmla="*/ 738639 h 2783550"/>
              <a:gd name="connsiteX64" fmla="*/ 1010392 w 2784501"/>
              <a:gd name="connsiteY64" fmla="*/ 835230 h 2783550"/>
              <a:gd name="connsiteX65" fmla="*/ 1054839 w 2784501"/>
              <a:gd name="connsiteY65" fmla="*/ 858826 h 2783550"/>
              <a:gd name="connsiteX66" fmla="*/ 1030596 w 2784501"/>
              <a:gd name="connsiteY66" fmla="*/ 879751 h 2783550"/>
              <a:gd name="connsiteX67" fmla="*/ 1023364 w 2784501"/>
              <a:gd name="connsiteY67" fmla="*/ 886867 h 2783550"/>
              <a:gd name="connsiteX68" fmla="*/ 1786650 w 2784501"/>
              <a:gd name="connsiteY68" fmla="*/ 1796178 h 2783550"/>
              <a:gd name="connsiteX69" fmla="*/ 1700601 w 2784501"/>
              <a:gd name="connsiteY69" fmla="*/ 1592988 h 2783550"/>
              <a:gd name="connsiteX70" fmla="*/ 1994390 w 2784501"/>
              <a:gd name="connsiteY70" fmla="*/ 1305635 h 2783550"/>
              <a:gd name="connsiteX71" fmla="*/ 2288178 w 2784501"/>
              <a:gd name="connsiteY71" fmla="*/ 1305635 h 2783550"/>
              <a:gd name="connsiteX72" fmla="*/ 2288178 w 2784501"/>
              <a:gd name="connsiteY72" fmla="*/ 1592988 h 2783550"/>
              <a:gd name="connsiteX73" fmla="*/ 1994389 w 2784501"/>
              <a:gd name="connsiteY73" fmla="*/ 1880342 h 2783550"/>
              <a:gd name="connsiteX74" fmla="*/ 1786650 w 2784501"/>
              <a:gd name="connsiteY74" fmla="*/ 1796178 h 2783550"/>
              <a:gd name="connsiteX75" fmla="*/ 1735861 w 2784501"/>
              <a:gd name="connsiteY75" fmla="*/ 1845851 h 2783550"/>
              <a:gd name="connsiteX76" fmla="*/ 1994389 w 2784501"/>
              <a:gd name="connsiteY76" fmla="*/ 1950591 h 2783550"/>
              <a:gd name="connsiteX77" fmla="*/ 2068073 w 2784501"/>
              <a:gd name="connsiteY77" fmla="*/ 1943326 h 2783550"/>
              <a:gd name="connsiteX78" fmla="*/ 2082961 w 2784501"/>
              <a:gd name="connsiteY78" fmla="*/ 1938806 h 2783550"/>
              <a:gd name="connsiteX79" fmla="*/ 2309650 w 2784501"/>
              <a:gd name="connsiteY79" fmla="*/ 2163856 h 2783550"/>
              <a:gd name="connsiteX80" fmla="*/ 2327043 w 2784501"/>
              <a:gd name="connsiteY80" fmla="*/ 2144473 h 2783550"/>
              <a:gd name="connsiteX81" fmla="*/ 2583628 w 2784501"/>
              <a:gd name="connsiteY81" fmla="*/ 1544020 h 2783550"/>
              <a:gd name="connsiteX82" fmla="*/ 2592421 w 2784501"/>
              <a:gd name="connsiteY82" fmla="*/ 1438155 h 2783550"/>
              <a:gd name="connsiteX83" fmla="*/ 2478152 w 2784501"/>
              <a:gd name="connsiteY83" fmla="*/ 1422787 h 2783550"/>
              <a:gd name="connsiteX84" fmla="*/ 2390142 w 2784501"/>
              <a:gd name="connsiteY84" fmla="*/ 1404226 h 2783550"/>
              <a:gd name="connsiteX85" fmla="*/ 2360002 w 2784501"/>
              <a:gd name="connsiteY85" fmla="*/ 1395803 h 2783550"/>
              <a:gd name="connsiteX86" fmla="*/ 2360002 w 2784501"/>
              <a:gd name="connsiteY86" fmla="*/ 1235385 h 2783550"/>
              <a:gd name="connsiteX87" fmla="*/ 1994390 w 2784501"/>
              <a:gd name="connsiteY87" fmla="*/ 1235386 h 2783550"/>
              <a:gd name="connsiteX88" fmla="*/ 1991250 w 2784501"/>
              <a:gd name="connsiteY88" fmla="*/ 1235695 h 2783550"/>
              <a:gd name="connsiteX89" fmla="*/ 1972701 w 2784501"/>
              <a:gd name="connsiteY89" fmla="*/ 1225495 h 2783550"/>
              <a:gd name="connsiteX90" fmla="*/ 1821835 w 2784501"/>
              <a:gd name="connsiteY90" fmla="*/ 1113882 h 2783550"/>
              <a:gd name="connsiteX91" fmla="*/ 1812477 w 2784501"/>
              <a:gd name="connsiteY91" fmla="*/ 1105283 h 2783550"/>
              <a:gd name="connsiteX92" fmla="*/ 1529988 w 2784501"/>
              <a:gd name="connsiteY92" fmla="*/ 1389829 h 2783550"/>
              <a:gd name="connsiteX93" fmla="*/ 1642393 w 2784501"/>
              <a:gd name="connsiteY93" fmla="*/ 1501422 h 2783550"/>
              <a:gd name="connsiteX94" fmla="*/ 1636205 w 2784501"/>
              <a:gd name="connsiteY94" fmla="*/ 1520919 h 2783550"/>
              <a:gd name="connsiteX95" fmla="*/ 1628776 w 2784501"/>
              <a:gd name="connsiteY95" fmla="*/ 1592988 h 2783550"/>
              <a:gd name="connsiteX96" fmla="*/ 1628776 w 2784501"/>
              <a:gd name="connsiteY96" fmla="*/ 1592988 h 2783550"/>
              <a:gd name="connsiteX97" fmla="*/ 1735861 w 2784501"/>
              <a:gd name="connsiteY97" fmla="*/ 1845851 h 2783550"/>
              <a:gd name="connsiteX98" fmla="*/ 1326088 w 2784501"/>
              <a:gd name="connsiteY98" fmla="*/ 2126320 h 2783550"/>
              <a:gd name="connsiteX99" fmla="*/ 1403899 w 2784501"/>
              <a:gd name="connsiteY99" fmla="*/ 2093907 h 2783550"/>
              <a:gd name="connsiteX100" fmla="*/ 1700098 w 2784501"/>
              <a:gd name="connsiteY100" fmla="*/ 1916380 h 2783550"/>
              <a:gd name="connsiteX101" fmla="*/ 1747163 w 2784501"/>
              <a:gd name="connsiteY101" fmla="*/ 1877975 h 2783550"/>
              <a:gd name="connsiteX102" fmla="*/ 1393721 w 2784501"/>
              <a:gd name="connsiteY102" fmla="*/ 1527088 h 2783550"/>
              <a:gd name="connsiteX103" fmla="*/ 1115681 w 2784501"/>
              <a:gd name="connsiteY103" fmla="*/ 1807153 h 2783550"/>
              <a:gd name="connsiteX104" fmla="*/ 1134780 w 2784501"/>
              <a:gd name="connsiteY104" fmla="*/ 1827866 h 2783550"/>
              <a:gd name="connsiteX105" fmla="*/ 1310798 w 2784501"/>
              <a:gd name="connsiteY105" fmla="*/ 2093216 h 2783550"/>
              <a:gd name="connsiteX106" fmla="*/ 587934 w 2784501"/>
              <a:gd name="connsiteY106" fmla="*/ 1557929 h 2783550"/>
              <a:gd name="connsiteX107" fmla="*/ 798987 w 2784501"/>
              <a:gd name="connsiteY107" fmla="*/ 1559500 h 2783550"/>
              <a:gd name="connsiteX108" fmla="*/ 795884 w 2784501"/>
              <a:gd name="connsiteY108" fmla="*/ 1348464 h 2783550"/>
              <a:gd name="connsiteX109" fmla="*/ 584832 w 2784501"/>
              <a:gd name="connsiteY109" fmla="*/ 1346892 h 2783550"/>
              <a:gd name="connsiteX110" fmla="*/ 587934 w 2784501"/>
              <a:gd name="connsiteY110" fmla="*/ 1557929 h 2783550"/>
              <a:gd name="connsiteX111" fmla="*/ 481379 w 2784501"/>
              <a:gd name="connsiteY111" fmla="*/ 1659197 h 2783550"/>
              <a:gd name="connsiteX112" fmla="*/ 395330 w 2784501"/>
              <a:gd name="connsiteY112" fmla="*/ 1456007 h 2783550"/>
              <a:gd name="connsiteX113" fmla="*/ 689119 w 2784501"/>
              <a:gd name="connsiteY113" fmla="*/ 1168654 h 2783550"/>
              <a:gd name="connsiteX114" fmla="*/ 982907 w 2784501"/>
              <a:gd name="connsiteY114" fmla="*/ 1168654 h 2783550"/>
              <a:gd name="connsiteX115" fmla="*/ 982907 w 2784501"/>
              <a:gd name="connsiteY115" fmla="*/ 1456007 h 2783550"/>
              <a:gd name="connsiteX116" fmla="*/ 689119 w 2784501"/>
              <a:gd name="connsiteY116" fmla="*/ 1743360 h 2783550"/>
              <a:gd name="connsiteX117" fmla="*/ 481379 w 2784501"/>
              <a:gd name="connsiteY117" fmla="*/ 1659197 h 2783550"/>
              <a:gd name="connsiteX118" fmla="*/ 1397578 w 2784501"/>
              <a:gd name="connsiteY118" fmla="*/ 2590539 h 2783550"/>
              <a:gd name="connsiteX119" fmla="*/ 1454917 w 2784501"/>
              <a:gd name="connsiteY119" fmla="*/ 2587593 h 2783550"/>
              <a:gd name="connsiteX120" fmla="*/ 1512601 w 2784501"/>
              <a:gd name="connsiteY120" fmla="*/ 2584629 h 2783550"/>
              <a:gd name="connsiteX121" fmla="*/ 2165831 w 2784501"/>
              <a:gd name="connsiteY121" fmla="*/ 2308907 h 2783550"/>
              <a:gd name="connsiteX122" fmla="*/ 2173815 w 2784501"/>
              <a:gd name="connsiteY122" fmla="*/ 2301544 h 2783550"/>
              <a:gd name="connsiteX123" fmla="*/ 1888559 w 2784501"/>
              <a:gd name="connsiteY123" fmla="*/ 2018349 h 2783550"/>
              <a:gd name="connsiteX124" fmla="*/ 1818663 w 2784501"/>
              <a:gd name="connsiteY124" fmla="*/ 2075226 h 2783550"/>
              <a:gd name="connsiteX125" fmla="*/ 1479101 w 2784501"/>
              <a:gd name="connsiteY125" fmla="*/ 2277359 h 2783550"/>
              <a:gd name="connsiteX126" fmla="*/ 1398267 w 2784501"/>
              <a:gd name="connsiteY126" fmla="*/ 2310603 h 2783550"/>
              <a:gd name="connsiteX127" fmla="*/ 1419631 w 2784501"/>
              <a:gd name="connsiteY127" fmla="*/ 2384037 h 2783550"/>
              <a:gd name="connsiteX128" fmla="*/ 1454841 w 2784501"/>
              <a:gd name="connsiteY128" fmla="*/ 2586143 h 2783550"/>
              <a:gd name="connsiteX129" fmla="*/ 1454915 w 2784501"/>
              <a:gd name="connsiteY129" fmla="*/ 2587593 h 2783550"/>
              <a:gd name="connsiteX130" fmla="*/ 709320 w 2784501"/>
              <a:gd name="connsiteY130" fmla="*/ 2216472 h 2783550"/>
              <a:gd name="connsiteX131" fmla="*/ 744612 w 2784501"/>
              <a:gd name="connsiteY131" fmla="*/ 2219508 h 2783550"/>
              <a:gd name="connsiteX132" fmla="*/ 1080476 w 2784501"/>
              <a:gd name="connsiteY132" fmla="*/ 2196513 h 2783550"/>
              <a:gd name="connsiteX133" fmla="*/ 1139969 w 2784501"/>
              <a:gd name="connsiteY133" fmla="*/ 2183282 h 2783550"/>
              <a:gd name="connsiteX134" fmla="*/ 1139525 w 2784501"/>
              <a:gd name="connsiteY134" fmla="*/ 2182343 h 2783550"/>
              <a:gd name="connsiteX135" fmla="*/ 1034050 w 2784501"/>
              <a:gd name="connsiteY135" fmla="*/ 2011549 h 2783550"/>
              <a:gd name="connsiteX136" fmla="*/ 979892 w 2784501"/>
              <a:gd name="connsiteY136" fmla="*/ 1943930 h 2783550"/>
              <a:gd name="connsiteX137" fmla="*/ 773984 w 2784501"/>
              <a:gd name="connsiteY137" fmla="*/ 2418247 h 2783550"/>
              <a:gd name="connsiteX138" fmla="*/ 799961 w 2784501"/>
              <a:gd name="connsiteY138" fmla="*/ 2434016 h 2783550"/>
              <a:gd name="connsiteX139" fmla="*/ 1168264 w 2784501"/>
              <a:gd name="connsiteY139" fmla="*/ 2569400 h 2783550"/>
              <a:gd name="connsiteX140" fmla="*/ 1259358 w 2784501"/>
              <a:gd name="connsiteY140" fmla="*/ 2582207 h 2783550"/>
              <a:gd name="connsiteX141" fmla="*/ 1245889 w 2784501"/>
              <a:gd name="connsiteY141" fmla="*/ 2491209 h 2783550"/>
              <a:gd name="connsiteX142" fmla="*/ 1214816 w 2784501"/>
              <a:gd name="connsiteY142" fmla="*/ 2369085 h 2783550"/>
              <a:gd name="connsiteX143" fmla="*/ 1202758 w 2784501"/>
              <a:gd name="connsiteY143" fmla="*/ 2372452 h 2783550"/>
              <a:gd name="connsiteX144" fmla="*/ 819114 w 2784501"/>
              <a:gd name="connsiteY144" fmla="*/ 2419634 h 2783550"/>
              <a:gd name="connsiteX145" fmla="*/ 411639 w 2784501"/>
              <a:gd name="connsiteY145" fmla="*/ 2379057 h 2783550"/>
              <a:gd name="connsiteX146" fmla="*/ 6860 w 2784501"/>
              <a:gd name="connsiteY146" fmla="*/ 1528900 h 2783550"/>
              <a:gd name="connsiteX147" fmla="*/ 6786 w 2784501"/>
              <a:gd name="connsiteY147" fmla="*/ 1527448 h 2783550"/>
              <a:gd name="connsiteX148" fmla="*/ 0 w 2784501"/>
              <a:gd name="connsiteY148" fmla="*/ 1395379 h 2783550"/>
              <a:gd name="connsiteX149" fmla="*/ 2680 w 2784501"/>
              <a:gd name="connsiteY149" fmla="*/ 1334614 h 2783550"/>
              <a:gd name="connsiteX150" fmla="*/ 63425 w 2784501"/>
              <a:gd name="connsiteY150" fmla="*/ 1331492 h 2783550"/>
              <a:gd name="connsiteX151" fmla="*/ 195540 w 2784501"/>
              <a:gd name="connsiteY151" fmla="*/ 1337321 h 2783550"/>
              <a:gd name="connsiteX152" fmla="*/ 196991 w 2784501"/>
              <a:gd name="connsiteY152" fmla="*/ 1337385 h 2783550"/>
              <a:gd name="connsiteX153" fmla="*/ 338234 w 2784501"/>
              <a:gd name="connsiteY153" fmla="*/ 1360937 h 2783550"/>
              <a:gd name="connsiteX154" fmla="*/ 330934 w 2784501"/>
              <a:gd name="connsiteY154" fmla="*/ 1383937 h 2783550"/>
              <a:gd name="connsiteX155" fmla="*/ 323506 w 2784501"/>
              <a:gd name="connsiteY155" fmla="*/ 1456007 h 2783550"/>
              <a:gd name="connsiteX156" fmla="*/ 323505 w 2784501"/>
              <a:gd name="connsiteY156" fmla="*/ 1456006 h 2783550"/>
              <a:gd name="connsiteX157" fmla="*/ 330933 w 2784501"/>
              <a:gd name="connsiteY157" fmla="*/ 1528076 h 2783550"/>
              <a:gd name="connsiteX158" fmla="*/ 340166 w 2784501"/>
              <a:gd name="connsiteY158" fmla="*/ 1557172 h 2783550"/>
              <a:gd name="connsiteX159" fmla="*/ 293438 w 2784501"/>
              <a:gd name="connsiteY159" fmla="*/ 1545642 h 2783550"/>
              <a:gd name="connsiteX160" fmla="*/ 202344 w 2784501"/>
              <a:gd name="connsiteY160" fmla="*/ 1532834 h 2783550"/>
              <a:gd name="connsiteX161" fmla="*/ 215812 w 2784501"/>
              <a:gd name="connsiteY161" fmla="*/ 1623832 h 2783550"/>
              <a:gd name="connsiteX162" fmla="*/ 353864 w 2784501"/>
              <a:gd name="connsiteY162" fmla="*/ 1991143 h 2783550"/>
              <a:gd name="connsiteX163" fmla="*/ 357872 w 2784501"/>
              <a:gd name="connsiteY163" fmla="*/ 1997639 h 2783550"/>
              <a:gd name="connsiteX164" fmla="*/ 356454 w 2784501"/>
              <a:gd name="connsiteY164" fmla="*/ 1960317 h 2783550"/>
              <a:gd name="connsiteX165" fmla="*/ 366993 w 2784501"/>
              <a:gd name="connsiteY165" fmla="*/ 1767135 h 2783550"/>
              <a:gd name="connsiteX166" fmla="*/ 386589 w 2784501"/>
              <a:gd name="connsiteY166" fmla="*/ 1656709 h 2783550"/>
              <a:gd name="connsiteX167" fmla="*/ 430591 w 2784501"/>
              <a:gd name="connsiteY167" fmla="*/ 1708870 h 2783550"/>
              <a:gd name="connsiteX168" fmla="*/ 546805 w 2784501"/>
              <a:gd name="connsiteY168" fmla="*/ 1785508 h 2783550"/>
              <a:gd name="connsiteX169" fmla="*/ 566145 w 2784501"/>
              <a:gd name="connsiteY169" fmla="*/ 1791380 h 2783550"/>
              <a:gd name="connsiteX170" fmla="*/ 557145 w 2784501"/>
              <a:gd name="connsiteY170" fmla="*/ 1864798 h 2783550"/>
              <a:gd name="connsiteX171" fmla="*/ 557115 w 2784501"/>
              <a:gd name="connsiteY171" fmla="*/ 2033366 h 2783550"/>
              <a:gd name="connsiteX172" fmla="*/ 562395 w 2784501"/>
              <a:gd name="connsiteY172" fmla="*/ 2089941 h 2783550"/>
              <a:gd name="connsiteX173" fmla="*/ 842633 w 2784501"/>
              <a:gd name="connsiteY173" fmla="*/ 1807663 h 2783550"/>
              <a:gd name="connsiteX174" fmla="*/ 819245 w 2784501"/>
              <a:gd name="connsiteY174" fmla="*/ 1789208 h 2783550"/>
              <a:gd name="connsiteX175" fmla="*/ 831431 w 2784501"/>
              <a:gd name="connsiteY175" fmla="*/ 1785507 h 2783550"/>
              <a:gd name="connsiteX176" fmla="*/ 947645 w 2784501"/>
              <a:gd name="connsiteY176" fmla="*/ 1708870 h 2783550"/>
              <a:gd name="connsiteX177" fmla="*/ 986844 w 2784501"/>
              <a:gd name="connsiteY177" fmla="*/ 1662402 h 2783550"/>
              <a:gd name="connsiteX178" fmla="*/ 1256462 w 2784501"/>
              <a:gd name="connsiteY178" fmla="*/ 1390821 h 2783550"/>
              <a:gd name="connsiteX179" fmla="*/ 1054731 w 2784501"/>
              <a:gd name="connsiteY179" fmla="*/ 1190548 h 2783550"/>
              <a:gd name="connsiteX180" fmla="*/ 1054731 w 2784501"/>
              <a:gd name="connsiteY180" fmla="*/ 1098404 h 2783550"/>
              <a:gd name="connsiteX181" fmla="*/ 961915 w 2784501"/>
              <a:gd name="connsiteY181" fmla="*/ 1098403 h 2783550"/>
              <a:gd name="connsiteX182" fmla="*/ 891367 w 2784501"/>
              <a:gd name="connsiteY182" fmla="*/ 1028364 h 2783550"/>
              <a:gd name="connsiteX183" fmla="*/ 853304 w 2784501"/>
              <a:gd name="connsiteY183" fmla="*/ 1075706 h 2783550"/>
              <a:gd name="connsiteX184" fmla="*/ 837376 w 2784501"/>
              <a:gd name="connsiteY184" fmla="*/ 1098404 h 2783550"/>
              <a:gd name="connsiteX185" fmla="*/ 689119 w 2784501"/>
              <a:gd name="connsiteY185" fmla="*/ 1098404 h 2783550"/>
              <a:gd name="connsiteX186" fmla="*/ 615436 w 2784501"/>
              <a:gd name="connsiteY186" fmla="*/ 1105669 h 2783550"/>
              <a:gd name="connsiteX187" fmla="*/ 590285 w 2784501"/>
              <a:gd name="connsiteY187" fmla="*/ 1113304 h 2783550"/>
              <a:gd name="connsiteX188" fmla="*/ 693601 w 2784501"/>
              <a:gd name="connsiteY188" fmla="*/ 958296 h 2783550"/>
              <a:gd name="connsiteX189" fmla="*/ 749970 w 2784501"/>
              <a:gd name="connsiteY189" fmla="*/ 887990 h 2783550"/>
              <a:gd name="connsiteX190" fmla="*/ 476367 w 2784501"/>
              <a:gd name="connsiteY190" fmla="*/ 616364 h 2783550"/>
              <a:gd name="connsiteX191" fmla="*/ 469063 w 2784501"/>
              <a:gd name="connsiteY191" fmla="*/ 624403 h 2783550"/>
              <a:gd name="connsiteX192" fmla="*/ 198086 w 2784501"/>
              <a:gd name="connsiteY192" fmla="*/ 1279615 h 2783550"/>
              <a:gd name="connsiteX193" fmla="*/ 195541 w 2784501"/>
              <a:gd name="connsiteY193" fmla="*/ 1337321 h 2783550"/>
              <a:gd name="connsiteX194" fmla="*/ 63425 w 2784501"/>
              <a:gd name="connsiteY194" fmla="*/ 1331492 h 2783550"/>
              <a:gd name="connsiteX195" fmla="*/ 2681 w 2784501"/>
              <a:gd name="connsiteY195" fmla="*/ 1334613 h 2783550"/>
              <a:gd name="connsiteX196" fmla="*/ 5892 w 2784501"/>
              <a:gd name="connsiteY196" fmla="*/ 1261812 h 2783550"/>
              <a:gd name="connsiteX197" fmla="*/ 404493 w 2784501"/>
              <a:gd name="connsiteY197" fmla="*/ 408741 h 2783550"/>
              <a:gd name="connsiteX198" fmla="*/ 1254651 w 2784501"/>
              <a:gd name="connsiteY198" fmla="*/ 3962 h 2783550"/>
              <a:gd name="connsiteX199" fmla="*/ 1331734 w 2784501"/>
              <a:gd name="connsiteY199" fmla="*/ 0 h 2783550"/>
              <a:gd name="connsiteX200" fmla="*/ 1331718 w 2784501"/>
              <a:gd name="connsiteY200" fmla="*/ 1116 h 2783550"/>
              <a:gd name="connsiteX201" fmla="*/ 1525458 w 2784501"/>
              <a:gd name="connsiteY201" fmla="*/ 3795 h 2783550"/>
              <a:gd name="connsiteX202" fmla="*/ 1525461 w 2784501"/>
              <a:gd name="connsiteY202" fmla="*/ 3516 h 2783550"/>
              <a:gd name="connsiteX203" fmla="*/ 1654362 w 2784501"/>
              <a:gd name="connsiteY203" fmla="*/ 21640 h 2783550"/>
              <a:gd name="connsiteX204" fmla="*/ 2374810 w 2784501"/>
              <a:gd name="connsiteY204" fmla="*/ 401593 h 2783550"/>
              <a:gd name="connsiteX205" fmla="*/ 2759980 w 2784501"/>
              <a:gd name="connsiteY205" fmla="*/ 1119266 h 2783550"/>
              <a:gd name="connsiteX206" fmla="*/ 2779126 w 2784501"/>
              <a:gd name="connsiteY206" fmla="*/ 1248617 h 2783550"/>
              <a:gd name="connsiteX207" fmla="*/ 2784489 w 2784501"/>
              <a:gd name="connsiteY207" fmla="*/ 1248341 h 2783550"/>
              <a:gd name="connsiteX208" fmla="*/ 2784501 w 2784501"/>
              <a:gd name="connsiteY208" fmla="*/ 1248587 h 2783550"/>
              <a:gd name="connsiteX209" fmla="*/ 2779420 w 2784501"/>
              <a:gd name="connsiteY209" fmla="*/ 1248695 h 2783550"/>
              <a:gd name="connsiteX210" fmla="*/ 2783504 w 2784501"/>
              <a:gd name="connsiteY210" fmla="*/ 1442410 h 2783550"/>
              <a:gd name="connsiteX211" fmla="*/ 2783929 w 2784501"/>
              <a:gd name="connsiteY211" fmla="*/ 1442401 h 2783550"/>
              <a:gd name="connsiteX212" fmla="*/ 2780558 w 2784501"/>
              <a:gd name="connsiteY212" fmla="*/ 1518839 h 2783550"/>
              <a:gd name="connsiteX213" fmla="*/ 2381957 w 2784501"/>
              <a:gd name="connsiteY213" fmla="*/ 2371911 h 2783550"/>
              <a:gd name="connsiteX214" fmla="*/ 1531799 w 2784501"/>
              <a:gd name="connsiteY214" fmla="*/ 2776690 h 2783550"/>
              <a:gd name="connsiteX215" fmla="*/ 1459022 w 2784501"/>
              <a:gd name="connsiteY215" fmla="*/ 2780428 h 2783550"/>
              <a:gd name="connsiteX216" fmla="*/ 1461702 w 2784501"/>
              <a:gd name="connsiteY216" fmla="*/ 2719664 h 2783550"/>
              <a:gd name="connsiteX217" fmla="*/ 1459022 w 2784501"/>
              <a:gd name="connsiteY217" fmla="*/ 2780429 h 2783550"/>
              <a:gd name="connsiteX218" fmla="*/ 1398278 w 2784501"/>
              <a:gd name="connsiteY218" fmla="*/ 2783550 h 2783550"/>
              <a:gd name="connsiteX219" fmla="*/ 1266162 w 2784501"/>
              <a:gd name="connsiteY219" fmla="*/ 2777722 h 2783550"/>
              <a:gd name="connsiteX220" fmla="*/ 1264711 w 2784501"/>
              <a:gd name="connsiteY220" fmla="*/ 2777658 h 2783550"/>
              <a:gd name="connsiteX221" fmla="*/ 411639 w 2784501"/>
              <a:gd name="connsiteY221" fmla="*/ 2379057 h 278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2784501" h="2783550">
                <a:moveTo>
                  <a:pt x="2415064" y="1209725"/>
                </a:moveTo>
                <a:lnTo>
                  <a:pt x="2497836" y="1230148"/>
                </a:lnTo>
                <a:lnTo>
                  <a:pt x="2583547" y="1242199"/>
                </a:lnTo>
                <a:lnTo>
                  <a:pt x="2581490" y="1220855"/>
                </a:lnTo>
                <a:cubicBezTo>
                  <a:pt x="2565980" y="1111517"/>
                  <a:pt x="2535384" y="1003919"/>
                  <a:pt x="2489713" y="901426"/>
                </a:cubicBezTo>
                <a:lnTo>
                  <a:pt x="2476443" y="874275"/>
                </a:lnTo>
                <a:lnTo>
                  <a:pt x="2474554" y="904034"/>
                </a:lnTo>
                <a:cubicBezTo>
                  <a:pt x="2465497" y="1000299"/>
                  <a:pt x="2447674" y="1095725"/>
                  <a:pt x="2421495" y="1189131"/>
                </a:cubicBezTo>
                <a:close/>
                <a:moveTo>
                  <a:pt x="1811382" y="831860"/>
                </a:moveTo>
                <a:lnTo>
                  <a:pt x="2149938" y="490840"/>
                </a:lnTo>
                <a:lnTo>
                  <a:pt x="2122990" y="487920"/>
                </a:lnTo>
                <a:cubicBezTo>
                  <a:pt x="1982551" y="477158"/>
                  <a:pt x="1841426" y="488477"/>
                  <a:pt x="1704328" y="520186"/>
                </a:cubicBezTo>
                <a:lnTo>
                  <a:pt x="1626769" y="540548"/>
                </a:lnTo>
                <a:lnTo>
                  <a:pt x="1651748" y="593446"/>
                </a:lnTo>
                <a:cubicBezTo>
                  <a:pt x="1681700" y="652573"/>
                  <a:pt x="1716859" y="709731"/>
                  <a:pt x="1757223" y="764240"/>
                </a:cubicBezTo>
                <a:close/>
                <a:moveTo>
                  <a:pt x="1948642" y="968128"/>
                </a:moveTo>
                <a:lnTo>
                  <a:pt x="2016652" y="1021793"/>
                </a:lnTo>
                <a:cubicBezTo>
                  <a:pt x="2071452" y="1061761"/>
                  <a:pt x="2128864" y="1096505"/>
                  <a:pt x="2188206" y="1126027"/>
                </a:cubicBezTo>
                <a:lnTo>
                  <a:pt x="2228152" y="1144537"/>
                </a:lnTo>
                <a:lnTo>
                  <a:pt x="2228565" y="1143241"/>
                </a:lnTo>
                <a:cubicBezTo>
                  <a:pt x="2275143" y="980538"/>
                  <a:pt x="2292795" y="810891"/>
                  <a:pt x="2278659" y="642463"/>
                </a:cubicBezTo>
                <a:lnTo>
                  <a:pt x="2277959" y="636412"/>
                </a:lnTo>
                <a:close/>
                <a:moveTo>
                  <a:pt x="1113626" y="640622"/>
                </a:moveTo>
                <a:cubicBezTo>
                  <a:pt x="1172763" y="699331"/>
                  <a:pt x="1267254" y="700035"/>
                  <a:pt x="1324679" y="642193"/>
                </a:cubicBezTo>
                <a:cubicBezTo>
                  <a:pt x="1382103" y="584351"/>
                  <a:pt x="1380714" y="489867"/>
                  <a:pt x="1321576" y="431157"/>
                </a:cubicBezTo>
                <a:cubicBezTo>
                  <a:pt x="1262439" y="372446"/>
                  <a:pt x="1167947" y="371743"/>
                  <a:pt x="1110523" y="429585"/>
                </a:cubicBezTo>
                <a:cubicBezTo>
                  <a:pt x="1053099" y="487427"/>
                  <a:pt x="1054488" y="581912"/>
                  <a:pt x="1113626" y="640622"/>
                </a:cubicBezTo>
                <a:close/>
                <a:moveTo>
                  <a:pt x="1007071" y="741890"/>
                </a:moveTo>
                <a:cubicBezTo>
                  <a:pt x="953905" y="689888"/>
                  <a:pt x="921022" y="618050"/>
                  <a:pt x="921022" y="538700"/>
                </a:cubicBezTo>
                <a:cubicBezTo>
                  <a:pt x="921022" y="379999"/>
                  <a:pt x="1052555" y="251347"/>
                  <a:pt x="1214811" y="251347"/>
                </a:cubicBezTo>
                <a:lnTo>
                  <a:pt x="1508599" y="251347"/>
                </a:lnTo>
                <a:lnTo>
                  <a:pt x="1508599" y="538700"/>
                </a:lnTo>
                <a:cubicBezTo>
                  <a:pt x="1508599" y="697401"/>
                  <a:pt x="1377066" y="826053"/>
                  <a:pt x="1214810" y="826053"/>
                </a:cubicBezTo>
                <a:cubicBezTo>
                  <a:pt x="1133683" y="826053"/>
                  <a:pt x="1060236" y="793890"/>
                  <a:pt x="1007071" y="741890"/>
                </a:cubicBezTo>
                <a:close/>
                <a:moveTo>
                  <a:pt x="1893205" y="1694910"/>
                </a:moveTo>
                <a:cubicBezTo>
                  <a:pt x="1952342" y="1753620"/>
                  <a:pt x="2046833" y="1754323"/>
                  <a:pt x="2104258" y="1696481"/>
                </a:cubicBezTo>
                <a:cubicBezTo>
                  <a:pt x="2161682" y="1638639"/>
                  <a:pt x="2160293" y="1544155"/>
                  <a:pt x="2101155" y="1485445"/>
                </a:cubicBezTo>
                <a:cubicBezTo>
                  <a:pt x="2042018" y="1426735"/>
                  <a:pt x="1947526" y="1426032"/>
                  <a:pt x="1890102" y="1483874"/>
                </a:cubicBezTo>
                <a:cubicBezTo>
                  <a:pt x="1832678" y="1541716"/>
                  <a:pt x="1834067" y="1636200"/>
                  <a:pt x="1893205" y="1694910"/>
                </a:cubicBezTo>
                <a:close/>
                <a:moveTo>
                  <a:pt x="1392728" y="1253562"/>
                </a:moveTo>
                <a:lnTo>
                  <a:pt x="1675218" y="969016"/>
                </a:lnTo>
                <a:lnTo>
                  <a:pt x="1666551" y="959720"/>
                </a:lnTo>
                <a:cubicBezTo>
                  <a:pt x="1625175" y="911727"/>
                  <a:pt x="1587606" y="861577"/>
                  <a:pt x="1553847" y="809668"/>
                </a:cubicBezTo>
                <a:lnTo>
                  <a:pt x="1515655" y="741397"/>
                </a:lnTo>
                <a:lnTo>
                  <a:pt x="1517982" y="738640"/>
                </a:lnTo>
                <a:cubicBezTo>
                  <a:pt x="1557404" y="681566"/>
                  <a:pt x="1580423" y="612762"/>
                  <a:pt x="1580423" y="538699"/>
                </a:cubicBezTo>
                <a:lnTo>
                  <a:pt x="1580423" y="347820"/>
                </a:lnTo>
                <a:lnTo>
                  <a:pt x="1716534" y="315077"/>
                </a:lnTo>
                <a:cubicBezTo>
                  <a:pt x="1764034" y="305872"/>
                  <a:pt x="1811907" y="298804"/>
                  <a:pt x="1860005" y="293927"/>
                </a:cubicBezTo>
                <a:lnTo>
                  <a:pt x="1878893" y="292591"/>
                </a:lnTo>
                <a:lnTo>
                  <a:pt x="1874156" y="290318"/>
                </a:lnTo>
                <a:cubicBezTo>
                  <a:pt x="1822745" y="267854"/>
                  <a:pt x="1770086" y="249170"/>
                  <a:pt x="1716597" y="234261"/>
                </a:cubicBezTo>
                <a:lnTo>
                  <a:pt x="1580423" y="206277"/>
                </a:lnTo>
                <a:lnTo>
                  <a:pt x="1580423" y="181097"/>
                </a:lnTo>
                <a:lnTo>
                  <a:pt x="1214811" y="181097"/>
                </a:lnTo>
                <a:cubicBezTo>
                  <a:pt x="1139090" y="181097"/>
                  <a:pt x="1068746" y="203612"/>
                  <a:pt x="1010393" y="242170"/>
                </a:cubicBezTo>
                <a:lnTo>
                  <a:pt x="981403" y="265565"/>
                </a:lnTo>
                <a:lnTo>
                  <a:pt x="917323" y="288138"/>
                </a:lnTo>
                <a:cubicBezTo>
                  <a:pt x="816505" y="331630"/>
                  <a:pt x="720451" y="389588"/>
                  <a:pt x="632323" y="462001"/>
                </a:cubicBezTo>
                <a:lnTo>
                  <a:pt x="613066" y="479535"/>
                </a:lnTo>
                <a:lnTo>
                  <a:pt x="882768" y="747288"/>
                </a:lnTo>
                <a:lnTo>
                  <a:pt x="896306" y="733970"/>
                </a:lnTo>
                <a:lnTo>
                  <a:pt x="904926" y="726544"/>
                </a:lnTo>
                <a:lnTo>
                  <a:pt x="911637" y="738639"/>
                </a:lnTo>
                <a:cubicBezTo>
                  <a:pt x="937919" y="776689"/>
                  <a:pt x="971490" y="809524"/>
                  <a:pt x="1010392" y="835230"/>
                </a:cubicBezTo>
                <a:lnTo>
                  <a:pt x="1054839" y="858826"/>
                </a:lnTo>
                <a:lnTo>
                  <a:pt x="1030596" y="879751"/>
                </a:lnTo>
                <a:lnTo>
                  <a:pt x="1023364" y="886867"/>
                </a:lnTo>
                <a:close/>
                <a:moveTo>
                  <a:pt x="1786650" y="1796178"/>
                </a:moveTo>
                <a:cubicBezTo>
                  <a:pt x="1733484" y="1744177"/>
                  <a:pt x="1700601" y="1672338"/>
                  <a:pt x="1700601" y="1592988"/>
                </a:cubicBezTo>
                <a:cubicBezTo>
                  <a:pt x="1700601" y="1434288"/>
                  <a:pt x="1832134" y="1305635"/>
                  <a:pt x="1994390" y="1305635"/>
                </a:cubicBezTo>
                <a:lnTo>
                  <a:pt x="2288178" y="1305635"/>
                </a:lnTo>
                <a:lnTo>
                  <a:pt x="2288178" y="1592988"/>
                </a:lnTo>
                <a:cubicBezTo>
                  <a:pt x="2288178" y="1751689"/>
                  <a:pt x="2156644" y="1880342"/>
                  <a:pt x="1994389" y="1880342"/>
                </a:cubicBezTo>
                <a:cubicBezTo>
                  <a:pt x="1913262" y="1880341"/>
                  <a:pt x="1839815" y="1848179"/>
                  <a:pt x="1786650" y="1796178"/>
                </a:cubicBezTo>
                <a:close/>
                <a:moveTo>
                  <a:pt x="1735861" y="1845851"/>
                </a:moveTo>
                <a:cubicBezTo>
                  <a:pt x="1802024" y="1910565"/>
                  <a:pt x="1893428" y="1950591"/>
                  <a:pt x="1994389" y="1950591"/>
                </a:cubicBezTo>
                <a:cubicBezTo>
                  <a:pt x="2019630" y="1950591"/>
                  <a:pt x="2044273" y="1948090"/>
                  <a:pt x="2068073" y="1943326"/>
                </a:cubicBezTo>
                <a:lnTo>
                  <a:pt x="2082961" y="1938806"/>
                </a:lnTo>
                <a:lnTo>
                  <a:pt x="2309650" y="2163856"/>
                </a:lnTo>
                <a:lnTo>
                  <a:pt x="2327043" y="2144473"/>
                </a:lnTo>
                <a:cubicBezTo>
                  <a:pt x="2470586" y="1967170"/>
                  <a:pt x="2556084" y="1758583"/>
                  <a:pt x="2583628" y="1544020"/>
                </a:cubicBezTo>
                <a:lnTo>
                  <a:pt x="2592421" y="1438155"/>
                </a:lnTo>
                <a:lnTo>
                  <a:pt x="2478152" y="1422787"/>
                </a:lnTo>
                <a:cubicBezTo>
                  <a:pt x="2448664" y="1417554"/>
                  <a:pt x="2419310" y="1411367"/>
                  <a:pt x="2390142" y="1404226"/>
                </a:cubicBezTo>
                <a:lnTo>
                  <a:pt x="2360002" y="1395803"/>
                </a:lnTo>
                <a:lnTo>
                  <a:pt x="2360002" y="1235385"/>
                </a:lnTo>
                <a:lnTo>
                  <a:pt x="1994390" y="1235386"/>
                </a:lnTo>
                <a:lnTo>
                  <a:pt x="1991250" y="1235695"/>
                </a:lnTo>
                <a:lnTo>
                  <a:pt x="1972701" y="1225495"/>
                </a:lnTo>
                <a:cubicBezTo>
                  <a:pt x="1920547" y="1192112"/>
                  <a:pt x="1870127" y="1154909"/>
                  <a:pt x="1821835" y="1113882"/>
                </a:cubicBezTo>
                <a:lnTo>
                  <a:pt x="1812477" y="1105283"/>
                </a:lnTo>
                <a:lnTo>
                  <a:pt x="1529988" y="1389829"/>
                </a:lnTo>
                <a:lnTo>
                  <a:pt x="1642393" y="1501422"/>
                </a:lnTo>
                <a:lnTo>
                  <a:pt x="1636205" y="1520919"/>
                </a:lnTo>
                <a:cubicBezTo>
                  <a:pt x="1631335" y="1544198"/>
                  <a:pt x="1628777" y="1568301"/>
                  <a:pt x="1628776" y="1592988"/>
                </a:cubicBezTo>
                <a:lnTo>
                  <a:pt x="1628776" y="1592988"/>
                </a:lnTo>
                <a:cubicBezTo>
                  <a:pt x="1628775" y="1691738"/>
                  <a:pt x="1669698" y="1781139"/>
                  <a:pt x="1735861" y="1845851"/>
                </a:cubicBezTo>
                <a:close/>
                <a:moveTo>
                  <a:pt x="1326088" y="2126320"/>
                </a:moveTo>
                <a:lnTo>
                  <a:pt x="1403899" y="2093907"/>
                </a:lnTo>
                <a:cubicBezTo>
                  <a:pt x="1507992" y="2046957"/>
                  <a:pt x="1607545" y="1987521"/>
                  <a:pt x="1700098" y="1916380"/>
                </a:cubicBezTo>
                <a:lnTo>
                  <a:pt x="1747163" y="1877975"/>
                </a:lnTo>
                <a:lnTo>
                  <a:pt x="1393721" y="1527088"/>
                </a:lnTo>
                <a:lnTo>
                  <a:pt x="1115681" y="1807153"/>
                </a:lnTo>
                <a:lnTo>
                  <a:pt x="1134780" y="1827866"/>
                </a:lnTo>
                <a:cubicBezTo>
                  <a:pt x="1204645" y="1910737"/>
                  <a:pt x="1263320" y="1999854"/>
                  <a:pt x="1310798" y="2093216"/>
                </a:cubicBezTo>
                <a:close/>
                <a:moveTo>
                  <a:pt x="587934" y="1557929"/>
                </a:moveTo>
                <a:cubicBezTo>
                  <a:pt x="647071" y="1616638"/>
                  <a:pt x="741562" y="1617342"/>
                  <a:pt x="798987" y="1559500"/>
                </a:cubicBezTo>
                <a:cubicBezTo>
                  <a:pt x="856411" y="1501658"/>
                  <a:pt x="855022" y="1407174"/>
                  <a:pt x="795884" y="1348464"/>
                </a:cubicBezTo>
                <a:cubicBezTo>
                  <a:pt x="736747" y="1289753"/>
                  <a:pt x="642255" y="1289051"/>
                  <a:pt x="584832" y="1346892"/>
                </a:cubicBezTo>
                <a:cubicBezTo>
                  <a:pt x="527408" y="1404734"/>
                  <a:pt x="528797" y="1499219"/>
                  <a:pt x="587934" y="1557929"/>
                </a:cubicBezTo>
                <a:close/>
                <a:moveTo>
                  <a:pt x="481379" y="1659197"/>
                </a:moveTo>
                <a:cubicBezTo>
                  <a:pt x="428213" y="1607195"/>
                  <a:pt x="395330" y="1535357"/>
                  <a:pt x="395330" y="1456007"/>
                </a:cubicBezTo>
                <a:cubicBezTo>
                  <a:pt x="395330" y="1297306"/>
                  <a:pt x="526864" y="1168654"/>
                  <a:pt x="689119" y="1168654"/>
                </a:cubicBezTo>
                <a:lnTo>
                  <a:pt x="982907" y="1168654"/>
                </a:lnTo>
                <a:lnTo>
                  <a:pt x="982907" y="1456007"/>
                </a:lnTo>
                <a:cubicBezTo>
                  <a:pt x="982907" y="1614708"/>
                  <a:pt x="851374" y="1743360"/>
                  <a:pt x="689119" y="1743360"/>
                </a:cubicBezTo>
                <a:cubicBezTo>
                  <a:pt x="607991" y="1743360"/>
                  <a:pt x="534544" y="1711197"/>
                  <a:pt x="481379" y="1659197"/>
                </a:cubicBezTo>
                <a:close/>
                <a:moveTo>
                  <a:pt x="1397578" y="2590539"/>
                </a:moveTo>
                <a:lnTo>
                  <a:pt x="1454917" y="2587593"/>
                </a:lnTo>
                <a:lnTo>
                  <a:pt x="1512601" y="2584629"/>
                </a:lnTo>
                <a:cubicBezTo>
                  <a:pt x="1746820" y="2561350"/>
                  <a:pt x="1975454" y="2469403"/>
                  <a:pt x="2165831" y="2308907"/>
                </a:cubicBezTo>
                <a:lnTo>
                  <a:pt x="2173815" y="2301544"/>
                </a:lnTo>
                <a:lnTo>
                  <a:pt x="1888559" y="2018349"/>
                </a:lnTo>
                <a:lnTo>
                  <a:pt x="1818663" y="2075226"/>
                </a:lnTo>
                <a:cubicBezTo>
                  <a:pt x="1712642" y="2156437"/>
                  <a:pt x="1598505" y="2224110"/>
                  <a:pt x="1479101" y="2277359"/>
                </a:cubicBezTo>
                <a:lnTo>
                  <a:pt x="1398267" y="2310603"/>
                </a:lnTo>
                <a:lnTo>
                  <a:pt x="1419631" y="2384037"/>
                </a:lnTo>
                <a:cubicBezTo>
                  <a:pt x="1436348" y="2450606"/>
                  <a:pt x="1448086" y="2518171"/>
                  <a:pt x="1454841" y="2586143"/>
                </a:cubicBezTo>
                <a:lnTo>
                  <a:pt x="1454915" y="2587593"/>
                </a:lnTo>
                <a:close/>
                <a:moveTo>
                  <a:pt x="709320" y="2216472"/>
                </a:moveTo>
                <a:lnTo>
                  <a:pt x="744612" y="2219508"/>
                </a:lnTo>
                <a:cubicBezTo>
                  <a:pt x="856997" y="2225632"/>
                  <a:pt x="969773" y="2217707"/>
                  <a:pt x="1080476" y="2196513"/>
                </a:cubicBezTo>
                <a:lnTo>
                  <a:pt x="1139969" y="2183282"/>
                </a:lnTo>
                <a:lnTo>
                  <a:pt x="1139525" y="2182343"/>
                </a:lnTo>
                <a:cubicBezTo>
                  <a:pt x="1109573" y="2123217"/>
                  <a:pt x="1074414" y="2066058"/>
                  <a:pt x="1034050" y="2011549"/>
                </a:cubicBezTo>
                <a:lnTo>
                  <a:pt x="979892" y="1943930"/>
                </a:lnTo>
                <a:close/>
                <a:moveTo>
                  <a:pt x="773984" y="2418247"/>
                </a:moveTo>
                <a:lnTo>
                  <a:pt x="799961" y="2434016"/>
                </a:lnTo>
                <a:cubicBezTo>
                  <a:pt x="915920" y="2500024"/>
                  <a:pt x="1040510" y="2545145"/>
                  <a:pt x="1168264" y="2569400"/>
                </a:cubicBezTo>
                <a:lnTo>
                  <a:pt x="1259358" y="2582207"/>
                </a:lnTo>
                <a:lnTo>
                  <a:pt x="1245889" y="2491209"/>
                </a:lnTo>
                <a:lnTo>
                  <a:pt x="1214816" y="2369085"/>
                </a:lnTo>
                <a:lnTo>
                  <a:pt x="1202758" y="2372452"/>
                </a:lnTo>
                <a:cubicBezTo>
                  <a:pt x="1077056" y="2403565"/>
                  <a:pt x="948226" y="2419588"/>
                  <a:pt x="819114" y="2419634"/>
                </a:cubicBezTo>
                <a:close/>
                <a:moveTo>
                  <a:pt x="411639" y="2379057"/>
                </a:moveTo>
                <a:cubicBezTo>
                  <a:pt x="172738" y="2141883"/>
                  <a:pt x="37743" y="1839624"/>
                  <a:pt x="6860" y="1528900"/>
                </a:cubicBezTo>
                <a:lnTo>
                  <a:pt x="6786" y="1527448"/>
                </a:lnTo>
                <a:lnTo>
                  <a:pt x="0" y="1395379"/>
                </a:lnTo>
                <a:lnTo>
                  <a:pt x="2680" y="1334614"/>
                </a:lnTo>
                <a:lnTo>
                  <a:pt x="63425" y="1331492"/>
                </a:lnTo>
                <a:lnTo>
                  <a:pt x="195540" y="1337321"/>
                </a:lnTo>
                <a:lnTo>
                  <a:pt x="196991" y="1337385"/>
                </a:lnTo>
                <a:lnTo>
                  <a:pt x="338234" y="1360937"/>
                </a:lnTo>
                <a:lnTo>
                  <a:pt x="330934" y="1383937"/>
                </a:lnTo>
                <a:cubicBezTo>
                  <a:pt x="326064" y="1407217"/>
                  <a:pt x="323506" y="1431320"/>
                  <a:pt x="323506" y="1456007"/>
                </a:cubicBezTo>
                <a:lnTo>
                  <a:pt x="323505" y="1456006"/>
                </a:lnTo>
                <a:cubicBezTo>
                  <a:pt x="323505" y="1480694"/>
                  <a:pt x="326063" y="1504797"/>
                  <a:pt x="330933" y="1528076"/>
                </a:cubicBezTo>
                <a:lnTo>
                  <a:pt x="340166" y="1557172"/>
                </a:lnTo>
                <a:lnTo>
                  <a:pt x="293438" y="1545642"/>
                </a:lnTo>
                <a:lnTo>
                  <a:pt x="202344" y="1532834"/>
                </a:lnTo>
                <a:lnTo>
                  <a:pt x="215812" y="1623832"/>
                </a:lnTo>
                <a:cubicBezTo>
                  <a:pt x="240993" y="1751406"/>
                  <a:pt x="287016" y="1875666"/>
                  <a:pt x="353864" y="1991143"/>
                </a:cubicBezTo>
                <a:lnTo>
                  <a:pt x="357872" y="1997639"/>
                </a:lnTo>
                <a:lnTo>
                  <a:pt x="356454" y="1960317"/>
                </a:lnTo>
                <a:cubicBezTo>
                  <a:pt x="356008" y="1895763"/>
                  <a:pt x="359558" y="1831251"/>
                  <a:pt x="366993" y="1767135"/>
                </a:cubicBezTo>
                <a:lnTo>
                  <a:pt x="386589" y="1656709"/>
                </a:lnTo>
                <a:lnTo>
                  <a:pt x="430591" y="1708870"/>
                </a:lnTo>
                <a:cubicBezTo>
                  <a:pt x="463672" y="1741227"/>
                  <a:pt x="503064" y="1767412"/>
                  <a:pt x="546805" y="1785508"/>
                </a:cubicBezTo>
                <a:lnTo>
                  <a:pt x="566145" y="1791380"/>
                </a:lnTo>
                <a:lnTo>
                  <a:pt x="557145" y="1864798"/>
                </a:lnTo>
                <a:cubicBezTo>
                  <a:pt x="553686" y="1920905"/>
                  <a:pt x="553645" y="1977197"/>
                  <a:pt x="557115" y="2033366"/>
                </a:cubicBezTo>
                <a:lnTo>
                  <a:pt x="562395" y="2089941"/>
                </a:lnTo>
                <a:lnTo>
                  <a:pt x="842633" y="1807663"/>
                </a:lnTo>
                <a:lnTo>
                  <a:pt x="819245" y="1789208"/>
                </a:lnTo>
                <a:lnTo>
                  <a:pt x="831431" y="1785507"/>
                </a:lnTo>
                <a:cubicBezTo>
                  <a:pt x="875172" y="1767412"/>
                  <a:pt x="914564" y="1741228"/>
                  <a:pt x="947645" y="1708870"/>
                </a:cubicBezTo>
                <a:lnTo>
                  <a:pt x="986844" y="1662402"/>
                </a:lnTo>
                <a:lnTo>
                  <a:pt x="1256462" y="1390821"/>
                </a:lnTo>
                <a:lnTo>
                  <a:pt x="1054731" y="1190548"/>
                </a:lnTo>
                <a:lnTo>
                  <a:pt x="1054731" y="1098404"/>
                </a:lnTo>
                <a:lnTo>
                  <a:pt x="961915" y="1098403"/>
                </a:lnTo>
                <a:lnTo>
                  <a:pt x="891367" y="1028364"/>
                </a:lnTo>
                <a:lnTo>
                  <a:pt x="853304" y="1075706"/>
                </a:lnTo>
                <a:lnTo>
                  <a:pt x="837376" y="1098404"/>
                </a:lnTo>
                <a:lnTo>
                  <a:pt x="689119" y="1098404"/>
                </a:lnTo>
                <a:cubicBezTo>
                  <a:pt x="663879" y="1098404"/>
                  <a:pt x="639236" y="1100905"/>
                  <a:pt x="615436" y="1105669"/>
                </a:cubicBezTo>
                <a:lnTo>
                  <a:pt x="590285" y="1113304"/>
                </a:lnTo>
                <a:lnTo>
                  <a:pt x="693601" y="958296"/>
                </a:lnTo>
                <a:lnTo>
                  <a:pt x="749970" y="887990"/>
                </a:lnTo>
                <a:lnTo>
                  <a:pt x="476367" y="616364"/>
                </a:lnTo>
                <a:lnTo>
                  <a:pt x="469063" y="624403"/>
                </a:lnTo>
                <a:cubicBezTo>
                  <a:pt x="309951" y="815938"/>
                  <a:pt x="219666" y="1045234"/>
                  <a:pt x="198086" y="1279615"/>
                </a:cubicBezTo>
                <a:lnTo>
                  <a:pt x="195541" y="1337321"/>
                </a:lnTo>
                <a:lnTo>
                  <a:pt x="63425" y="1331492"/>
                </a:lnTo>
                <a:lnTo>
                  <a:pt x="2681" y="1334613"/>
                </a:lnTo>
                <a:lnTo>
                  <a:pt x="5892" y="1261812"/>
                </a:lnTo>
                <a:cubicBezTo>
                  <a:pt x="34520" y="950872"/>
                  <a:pt x="167318" y="647642"/>
                  <a:pt x="404493" y="408741"/>
                </a:cubicBezTo>
                <a:cubicBezTo>
                  <a:pt x="641669" y="169838"/>
                  <a:pt x="943927" y="34844"/>
                  <a:pt x="1254651" y="3962"/>
                </a:cubicBezTo>
                <a:lnTo>
                  <a:pt x="1331734" y="0"/>
                </a:lnTo>
                <a:lnTo>
                  <a:pt x="1331718" y="1116"/>
                </a:lnTo>
                <a:lnTo>
                  <a:pt x="1525458" y="3795"/>
                </a:lnTo>
                <a:lnTo>
                  <a:pt x="1525461" y="3516"/>
                </a:lnTo>
                <a:lnTo>
                  <a:pt x="1654362" y="21640"/>
                </a:lnTo>
                <a:cubicBezTo>
                  <a:pt x="1918003" y="71693"/>
                  <a:pt x="2170037" y="198301"/>
                  <a:pt x="2374810" y="401593"/>
                </a:cubicBezTo>
                <a:cubicBezTo>
                  <a:pt x="2579583" y="604886"/>
                  <a:pt x="2708016" y="855996"/>
                  <a:pt x="2759980" y="1119266"/>
                </a:cubicBezTo>
                <a:lnTo>
                  <a:pt x="2779126" y="1248617"/>
                </a:lnTo>
                <a:lnTo>
                  <a:pt x="2784489" y="1248341"/>
                </a:lnTo>
                <a:lnTo>
                  <a:pt x="2784501" y="1248587"/>
                </a:lnTo>
                <a:lnTo>
                  <a:pt x="2779420" y="1248695"/>
                </a:lnTo>
                <a:lnTo>
                  <a:pt x="2783504" y="1442410"/>
                </a:lnTo>
                <a:lnTo>
                  <a:pt x="2783929" y="1442401"/>
                </a:lnTo>
                <a:lnTo>
                  <a:pt x="2780558" y="1518839"/>
                </a:lnTo>
                <a:cubicBezTo>
                  <a:pt x="2751930" y="1829779"/>
                  <a:pt x="2619132" y="2133009"/>
                  <a:pt x="2381957" y="2371911"/>
                </a:cubicBezTo>
                <a:cubicBezTo>
                  <a:pt x="2144782" y="2610812"/>
                  <a:pt x="1842523" y="2745807"/>
                  <a:pt x="1531799" y="2776690"/>
                </a:cubicBezTo>
                <a:lnTo>
                  <a:pt x="1459022" y="2780428"/>
                </a:lnTo>
                <a:lnTo>
                  <a:pt x="1461702" y="2719664"/>
                </a:lnTo>
                <a:lnTo>
                  <a:pt x="1459022" y="2780429"/>
                </a:lnTo>
                <a:lnTo>
                  <a:pt x="1398278" y="2783550"/>
                </a:lnTo>
                <a:lnTo>
                  <a:pt x="1266162" y="2777722"/>
                </a:lnTo>
                <a:lnTo>
                  <a:pt x="1264711" y="2777658"/>
                </a:lnTo>
                <a:cubicBezTo>
                  <a:pt x="953771" y="2749031"/>
                  <a:pt x="650541" y="2616232"/>
                  <a:pt x="411639" y="2379057"/>
                </a:cubicBezTo>
                <a:close/>
              </a:path>
            </a:pathLst>
          </a:cu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dirty="0">
              <a:ln>
                <a:noFill/>
              </a:ln>
              <a:solidFill>
                <a:schemeClr val="tx1"/>
              </a:solidFill>
              <a:effectLst/>
              <a:latin typeface="Arial" charset="0"/>
            </a:endParaRPr>
          </a:p>
        </p:txBody>
      </p:sp>
      <p:sp>
        <p:nvSpPr>
          <p:cNvPr id="115" name="Freeform 6">
            <a:extLst>
              <a:ext uri="{FF2B5EF4-FFF2-40B4-BE49-F238E27FC236}">
                <a16:creationId xmlns:a16="http://schemas.microsoft.com/office/drawing/2014/main" id="{34065EB2-6355-F04B-A028-687F95F9477C}"/>
              </a:ext>
            </a:extLst>
          </p:cNvPr>
          <p:cNvSpPr>
            <a:spLocks noChangeAspect="1"/>
          </p:cNvSpPr>
          <p:nvPr/>
        </p:nvSpPr>
        <p:spPr bwMode="auto">
          <a:xfrm rot="18576243">
            <a:off x="2143846" y="2966589"/>
            <a:ext cx="159616" cy="286447"/>
          </a:xfrm>
          <a:custGeom>
            <a:avLst/>
            <a:gdLst>
              <a:gd name="connsiteX0" fmla="*/ 1626119 w 2920949"/>
              <a:gd name="connsiteY0" fmla="*/ 3897576 h 5241937"/>
              <a:gd name="connsiteX1" fmla="*/ 1626119 w 2920949"/>
              <a:gd name="connsiteY1" fmla="*/ 5162252 h 5241937"/>
              <a:gd name="connsiteX2" fmla="*/ 1546434 w 2920949"/>
              <a:gd name="connsiteY2" fmla="*/ 5241937 h 5241937"/>
              <a:gd name="connsiteX3" fmla="*/ 1227703 w 2920949"/>
              <a:gd name="connsiteY3" fmla="*/ 5241937 h 5241937"/>
              <a:gd name="connsiteX4" fmla="*/ 1148017 w 2920949"/>
              <a:gd name="connsiteY4" fmla="*/ 5162251 h 5241937"/>
              <a:gd name="connsiteX5" fmla="*/ 1148017 w 2920949"/>
              <a:gd name="connsiteY5" fmla="*/ 3897576 h 5241937"/>
              <a:gd name="connsiteX6" fmla="*/ 1625898 w 2920949"/>
              <a:gd name="connsiteY6" fmla="*/ 3455312 h 5241937"/>
              <a:gd name="connsiteX7" fmla="*/ 1626119 w 2920949"/>
              <a:gd name="connsiteY7" fmla="*/ 3457508 h 5241937"/>
              <a:gd name="connsiteX8" fmla="*/ 1626119 w 2920949"/>
              <a:gd name="connsiteY8" fmla="*/ 3791332 h 5241937"/>
              <a:gd name="connsiteX9" fmla="*/ 1148017 w 2920949"/>
              <a:gd name="connsiteY9" fmla="*/ 3791332 h 5241937"/>
              <a:gd name="connsiteX10" fmla="*/ 1148017 w 2920949"/>
              <a:gd name="connsiteY10" fmla="*/ 3457508 h 5241937"/>
              <a:gd name="connsiteX11" fmla="*/ 1148239 w 2920949"/>
              <a:gd name="connsiteY11" fmla="*/ 3455312 h 5241937"/>
              <a:gd name="connsiteX12" fmla="*/ 1202633 w 2920949"/>
              <a:gd name="connsiteY12" fmla="*/ 3469298 h 5241937"/>
              <a:gd name="connsiteX13" fmla="*/ 1387068 w 2920949"/>
              <a:gd name="connsiteY13" fmla="*/ 3487891 h 5241937"/>
              <a:gd name="connsiteX14" fmla="*/ 1571504 w 2920949"/>
              <a:gd name="connsiteY14" fmla="*/ 3469298 h 5241937"/>
              <a:gd name="connsiteX15" fmla="*/ 375418 w 2920949"/>
              <a:gd name="connsiteY15" fmla="*/ 1454520 h 5241937"/>
              <a:gd name="connsiteX16" fmla="*/ 373440 w 2920949"/>
              <a:gd name="connsiteY16" fmla="*/ 1459055 h 5241937"/>
              <a:gd name="connsiteX17" fmla="*/ 284882 w 2920949"/>
              <a:gd name="connsiteY17" fmla="*/ 2321602 h 5241937"/>
              <a:gd name="connsiteX18" fmla="*/ 285692 w 2920949"/>
              <a:gd name="connsiteY18" fmla="*/ 2325008 h 5241937"/>
              <a:gd name="connsiteX19" fmla="*/ 245876 w 2920949"/>
              <a:gd name="connsiteY19" fmla="*/ 2271617 h 5241937"/>
              <a:gd name="connsiteX20" fmla="*/ 129 w 2920949"/>
              <a:gd name="connsiteY20" fmla="*/ 1441765 h 5241937"/>
              <a:gd name="connsiteX21" fmla="*/ 5991 w 2920949"/>
              <a:gd name="connsiteY21" fmla="*/ 1335739 h 5241937"/>
              <a:gd name="connsiteX22" fmla="*/ 84100 w 2920949"/>
              <a:gd name="connsiteY22" fmla="*/ 1351656 h 5241937"/>
              <a:gd name="connsiteX23" fmla="*/ 374539 w 2920949"/>
              <a:gd name="connsiteY23" fmla="*/ 1454071 h 5241937"/>
              <a:gd name="connsiteX24" fmla="*/ 702268 w 2920949"/>
              <a:gd name="connsiteY24" fmla="*/ 1662631 h 5241937"/>
              <a:gd name="connsiteX25" fmla="*/ 695699 w 2920949"/>
              <a:gd name="connsiteY25" fmla="*/ 1667530 h 5241937"/>
              <a:gd name="connsiteX26" fmla="*/ 429930 w 2920949"/>
              <a:gd name="connsiteY26" fmla="*/ 1995940 h 5241937"/>
              <a:gd name="connsiteX27" fmla="*/ 391622 w 2920949"/>
              <a:gd name="connsiteY27" fmla="*/ 2079325 h 5241937"/>
              <a:gd name="connsiteX28" fmla="*/ 389042 w 2920949"/>
              <a:gd name="connsiteY28" fmla="*/ 2023331 h 5241937"/>
              <a:gd name="connsiteX29" fmla="*/ 483632 w 2920949"/>
              <a:gd name="connsiteY29" fmla="*/ 1536432 h 5241937"/>
              <a:gd name="connsiteX30" fmla="*/ 491906 w 2920949"/>
              <a:gd name="connsiteY30" fmla="*/ 1516246 h 5241937"/>
              <a:gd name="connsiteX31" fmla="*/ 557544 w 2920949"/>
              <a:gd name="connsiteY31" fmla="*/ 1555494 h 5241937"/>
              <a:gd name="connsiteX32" fmla="*/ 923685 w 2920949"/>
              <a:gd name="connsiteY32" fmla="*/ 903338 h 5241937"/>
              <a:gd name="connsiteX33" fmla="*/ 1354605 w 2920949"/>
              <a:gd name="connsiteY33" fmla="*/ 1424156 h 5241937"/>
              <a:gd name="connsiteX34" fmla="*/ 1269835 w 2920949"/>
              <a:gd name="connsiteY34" fmla="*/ 1428325 h 5241937"/>
              <a:gd name="connsiteX35" fmla="*/ 874678 w 2920949"/>
              <a:gd name="connsiteY35" fmla="*/ 1547499 h 5241937"/>
              <a:gd name="connsiteX36" fmla="*/ 814475 w 2920949"/>
              <a:gd name="connsiteY36" fmla="*/ 1583569 h 5241937"/>
              <a:gd name="connsiteX37" fmla="*/ 810286 w 2920949"/>
              <a:gd name="connsiteY37" fmla="*/ 1579794 h 5241937"/>
              <a:gd name="connsiteX38" fmla="*/ 623180 w 2920949"/>
              <a:gd name="connsiteY38" fmla="*/ 1442146 h 5241937"/>
              <a:gd name="connsiteX39" fmla="*/ 545271 w 2920949"/>
              <a:gd name="connsiteY39" fmla="*/ 1395995 h 5241937"/>
              <a:gd name="connsiteX40" fmla="*/ 552314 w 2920949"/>
              <a:gd name="connsiteY40" fmla="*/ 1381180 h 5241937"/>
              <a:gd name="connsiteX41" fmla="*/ 861759 w 2920949"/>
              <a:gd name="connsiteY41" fmla="*/ 960298 h 5241937"/>
              <a:gd name="connsiteX42" fmla="*/ 486233 w 2920949"/>
              <a:gd name="connsiteY42" fmla="*/ 374626 h 5241937"/>
              <a:gd name="connsiteX43" fmla="*/ 840160 w 2920949"/>
              <a:gd name="connsiteY43" fmla="*/ 802388 h 5241937"/>
              <a:gd name="connsiteX44" fmla="*/ 768520 w 2920949"/>
              <a:gd name="connsiteY44" fmla="*/ 868389 h 5241937"/>
              <a:gd name="connsiteX45" fmla="*/ 458974 w 2920949"/>
              <a:gd name="connsiteY45" fmla="*/ 1277786 h 5241937"/>
              <a:gd name="connsiteX46" fmla="*/ 429542 w 2920949"/>
              <a:gd name="connsiteY46" fmla="*/ 1335669 h 5241937"/>
              <a:gd name="connsiteX47" fmla="*/ 422697 w 2920949"/>
              <a:gd name="connsiteY47" fmla="*/ 1332207 h 5241937"/>
              <a:gd name="connsiteX48" fmla="*/ 104253 w 2920949"/>
              <a:gd name="connsiteY48" fmla="*/ 1222082 h 5241937"/>
              <a:gd name="connsiteX49" fmla="*/ 22708 w 2920949"/>
              <a:gd name="connsiteY49" fmla="*/ 1206061 h 5241937"/>
              <a:gd name="connsiteX50" fmla="*/ 24006 w 2920949"/>
              <a:gd name="connsiteY50" fmla="*/ 1196788 h 5241937"/>
              <a:gd name="connsiteX51" fmla="*/ 425759 w 2920949"/>
              <a:gd name="connsiteY51" fmla="*/ 429682 h 5241937"/>
              <a:gd name="connsiteX52" fmla="*/ 1869984 w 2920949"/>
              <a:gd name="connsiteY52" fmla="*/ 2016576 h 5241937"/>
              <a:gd name="connsiteX53" fmla="*/ 1387068 w 2920949"/>
              <a:gd name="connsiteY53" fmla="*/ 1816546 h 5241937"/>
              <a:gd name="connsiteX54" fmla="*/ 704123 w 2920949"/>
              <a:gd name="connsiteY54" fmla="*/ 2499492 h 5241937"/>
              <a:gd name="connsiteX55" fmla="*/ 1387069 w 2920949"/>
              <a:gd name="connsiteY55" fmla="*/ 3182437 h 5241937"/>
              <a:gd name="connsiteX56" fmla="*/ 2070014 w 2920949"/>
              <a:gd name="connsiteY56" fmla="*/ 2499492 h 5241937"/>
              <a:gd name="connsiteX57" fmla="*/ 1869984 w 2920949"/>
              <a:gd name="connsiteY57" fmla="*/ 2016576 h 5241937"/>
              <a:gd name="connsiteX58" fmla="*/ 2093246 w 2920949"/>
              <a:gd name="connsiteY58" fmla="*/ 1917368 h 5241937"/>
              <a:gd name="connsiteX59" fmla="*/ 2302223 w 2920949"/>
              <a:gd name="connsiteY59" fmla="*/ 2499492 h 5241937"/>
              <a:gd name="connsiteX60" fmla="*/ 1387069 w 2920949"/>
              <a:gd name="connsiteY60" fmla="*/ 3414646 h 5241937"/>
              <a:gd name="connsiteX61" fmla="*/ 471914 w 2920949"/>
              <a:gd name="connsiteY61" fmla="*/ 2499491 h 5241937"/>
              <a:gd name="connsiteX62" fmla="*/ 1387068 w 2920949"/>
              <a:gd name="connsiteY62" fmla="*/ 1584337 h 5241937"/>
              <a:gd name="connsiteX63" fmla="*/ 2093246 w 2920949"/>
              <a:gd name="connsiteY63" fmla="*/ 1917368 h 5241937"/>
              <a:gd name="connsiteX64" fmla="*/ 2390505 w 2920949"/>
              <a:gd name="connsiteY64" fmla="*/ 1496124 h 5241937"/>
              <a:gd name="connsiteX65" fmla="*/ 2343583 w 2920949"/>
              <a:gd name="connsiteY65" fmla="*/ 1587817 h 5241937"/>
              <a:gd name="connsiteX66" fmla="*/ 2197033 w 2920949"/>
              <a:gd name="connsiteY66" fmla="*/ 1807513 h 5241937"/>
              <a:gd name="connsiteX67" fmla="*/ 2194605 w 2920949"/>
              <a:gd name="connsiteY67" fmla="*/ 1810334 h 5241937"/>
              <a:gd name="connsiteX68" fmla="*/ 2193625 w 2920949"/>
              <a:gd name="connsiteY68" fmla="*/ 1809019 h 5241937"/>
              <a:gd name="connsiteX69" fmla="*/ 1575034 w 2920949"/>
              <a:gd name="connsiteY69" fmla="*/ 1442481 h 5241937"/>
              <a:gd name="connsiteX70" fmla="*/ 1574032 w 2920949"/>
              <a:gd name="connsiteY70" fmla="*/ 1442338 h 5241937"/>
              <a:gd name="connsiteX71" fmla="*/ 1947676 w 2920949"/>
              <a:gd name="connsiteY71" fmla="*/ 1133189 h 5241937"/>
              <a:gd name="connsiteX72" fmla="*/ 2014070 w 2920949"/>
              <a:gd name="connsiteY72" fmla="*/ 1205256 h 5241937"/>
              <a:gd name="connsiteX73" fmla="*/ 2385694 w 2920949"/>
              <a:gd name="connsiteY73" fmla="*/ 1493549 h 5241937"/>
              <a:gd name="connsiteX74" fmla="*/ 1600104 w 2920949"/>
              <a:gd name="connsiteY74" fmla="*/ 540071 h 5241937"/>
              <a:gd name="connsiteX75" fmla="*/ 1606851 w 2920949"/>
              <a:gd name="connsiteY75" fmla="*/ 561201 h 5241937"/>
              <a:gd name="connsiteX76" fmla="*/ 1856716 w 2920949"/>
              <a:gd name="connsiteY76" fmla="*/ 1022616 h 5241937"/>
              <a:gd name="connsiteX77" fmla="*/ 1873233 w 2920949"/>
              <a:gd name="connsiteY77" fmla="*/ 1043140 h 5241937"/>
              <a:gd name="connsiteX78" fmla="*/ 1468243 w 2920949"/>
              <a:gd name="connsiteY78" fmla="*/ 1378225 h 5241937"/>
              <a:gd name="connsiteX79" fmla="*/ 1013583 w 2920949"/>
              <a:gd name="connsiteY79" fmla="*/ 828714 h 5241937"/>
              <a:gd name="connsiteX80" fmla="*/ 1029163 w 2920949"/>
              <a:gd name="connsiteY80" fmla="*/ 816174 h 5241937"/>
              <a:gd name="connsiteX81" fmla="*/ 1500740 w 2920949"/>
              <a:gd name="connsiteY81" fmla="*/ 569141 h 5241937"/>
              <a:gd name="connsiteX82" fmla="*/ 2902076 w 2920949"/>
              <a:gd name="connsiteY82" fmla="*/ 1687503 h 5241937"/>
              <a:gd name="connsiteX83" fmla="*/ 2896943 w 2920949"/>
              <a:gd name="connsiteY83" fmla="*/ 1724163 h 5241937"/>
              <a:gd name="connsiteX84" fmla="*/ 2495190 w 2920949"/>
              <a:gd name="connsiteY84" fmla="*/ 2491268 h 5241937"/>
              <a:gd name="connsiteX85" fmla="*/ 2435029 w 2920949"/>
              <a:gd name="connsiteY85" fmla="*/ 2546038 h 5241937"/>
              <a:gd name="connsiteX86" fmla="*/ 2437853 w 2920949"/>
              <a:gd name="connsiteY86" fmla="*/ 2485301 h 5241937"/>
              <a:gd name="connsiteX87" fmla="*/ 2313656 w 2920949"/>
              <a:gd name="connsiteY87" fmla="*/ 1987998 h 5241937"/>
              <a:gd name="connsiteX88" fmla="*/ 2272807 w 2920949"/>
              <a:gd name="connsiteY88" fmla="*/ 1919817 h 5241937"/>
              <a:gd name="connsiteX89" fmla="*/ 2302295 w 2920949"/>
              <a:gd name="connsiteY89" fmla="*/ 1885407 h 5241937"/>
              <a:gd name="connsiteX90" fmla="*/ 2461518 w 2920949"/>
              <a:gd name="connsiteY90" fmla="*/ 1644859 h 5241937"/>
              <a:gd name="connsiteX91" fmla="*/ 2506209 w 2920949"/>
              <a:gd name="connsiteY91" fmla="*/ 1556473 h 5241937"/>
              <a:gd name="connsiteX92" fmla="*/ 2591544 w 2920949"/>
              <a:gd name="connsiteY92" fmla="*/ 1594980 h 5241937"/>
              <a:gd name="connsiteX93" fmla="*/ 2806110 w 2920949"/>
              <a:gd name="connsiteY93" fmla="*/ 1666389 h 5241937"/>
              <a:gd name="connsiteX94" fmla="*/ 1507917 w 2920949"/>
              <a:gd name="connsiteY94" fmla="*/ 1888 h 5241937"/>
              <a:gd name="connsiteX95" fmla="*/ 1508268 w 2920949"/>
              <a:gd name="connsiteY95" fmla="*/ 64022 h 5241937"/>
              <a:gd name="connsiteX96" fmla="*/ 1538192 w 2920949"/>
              <a:gd name="connsiteY96" fmla="*/ 314555 h 5241937"/>
              <a:gd name="connsiteX97" fmla="*/ 1562150 w 2920949"/>
              <a:gd name="connsiteY97" fmla="*/ 415211 h 5241937"/>
              <a:gd name="connsiteX98" fmla="*/ 1466789 w 2920949"/>
              <a:gd name="connsiteY98" fmla="*/ 442612 h 5241937"/>
              <a:gd name="connsiteX99" fmla="*/ 951159 w 2920949"/>
              <a:gd name="connsiteY99" fmla="*/ 711035 h 5241937"/>
              <a:gd name="connsiteX100" fmla="*/ 930184 w 2920949"/>
              <a:gd name="connsiteY100" fmla="*/ 727916 h 5241937"/>
              <a:gd name="connsiteX101" fmla="*/ 576250 w 2920949"/>
              <a:gd name="connsiteY101" fmla="*/ 300146 h 5241937"/>
              <a:gd name="connsiteX102" fmla="*/ 641655 w 2920949"/>
              <a:gd name="connsiteY102" fmla="*/ 251051 h 5241937"/>
              <a:gd name="connsiteX103" fmla="*/ 1470419 w 2920949"/>
              <a:gd name="connsiteY103" fmla="*/ 39 h 5241937"/>
              <a:gd name="connsiteX104" fmla="*/ 2514860 w 2920949"/>
              <a:gd name="connsiteY104" fmla="*/ 663906 h 5241937"/>
              <a:gd name="connsiteX105" fmla="*/ 2521657 w 2920949"/>
              <a:gd name="connsiteY105" fmla="*/ 703417 h 5241937"/>
              <a:gd name="connsiteX106" fmla="*/ 2466185 w 2920949"/>
              <a:gd name="connsiteY106" fmla="*/ 1302989 h 5241937"/>
              <a:gd name="connsiteX107" fmla="*/ 2441079 w 2920949"/>
              <a:gd name="connsiteY107" fmla="*/ 1374178 h 5241937"/>
              <a:gd name="connsiteX108" fmla="*/ 2355721 w 2920949"/>
              <a:gd name="connsiteY108" fmla="*/ 1320358 h 5241937"/>
              <a:gd name="connsiteX109" fmla="*/ 2105978 w 2920949"/>
              <a:gd name="connsiteY109" fmla="*/ 1112017 h 5241937"/>
              <a:gd name="connsiteX110" fmla="*/ 2048626 w 2920949"/>
              <a:gd name="connsiteY110" fmla="*/ 1049664 h 5241937"/>
              <a:gd name="connsiteX111" fmla="*/ 2440380 w 2920949"/>
              <a:gd name="connsiteY111" fmla="*/ 573888 h 5241937"/>
              <a:gd name="connsiteX112" fmla="*/ 1974031 w 2920949"/>
              <a:gd name="connsiteY112" fmla="*/ 959741 h 5241937"/>
              <a:gd name="connsiteX113" fmla="*/ 1961855 w 2920949"/>
              <a:gd name="connsiteY113" fmla="*/ 944612 h 5241937"/>
              <a:gd name="connsiteX114" fmla="*/ 1732019 w 2920949"/>
              <a:gd name="connsiteY114" fmla="*/ 522578 h 5241937"/>
              <a:gd name="connsiteX115" fmla="*/ 1729026 w 2920949"/>
              <a:gd name="connsiteY115" fmla="*/ 513347 h 5241937"/>
              <a:gd name="connsiteX116" fmla="*/ 1803487 w 2920949"/>
              <a:gd name="connsiteY116" fmla="*/ 502040 h 5241937"/>
              <a:gd name="connsiteX117" fmla="*/ 2402841 w 2920949"/>
              <a:gd name="connsiteY117" fmla="*/ 559816 h 5241937"/>
              <a:gd name="connsiteX118" fmla="*/ 2635615 w 2920949"/>
              <a:gd name="connsiteY118" fmla="*/ 596420 h 5241937"/>
              <a:gd name="connsiteX119" fmla="*/ 2675073 w 2920949"/>
              <a:gd name="connsiteY119" fmla="*/ 649332 h 5241937"/>
              <a:gd name="connsiteX120" fmla="*/ 2920820 w 2920949"/>
              <a:gd name="connsiteY120" fmla="*/ 1479184 h 5241937"/>
              <a:gd name="connsiteX121" fmla="*/ 2916510 w 2920949"/>
              <a:gd name="connsiteY121" fmla="*/ 1557144 h 5241937"/>
              <a:gd name="connsiteX122" fmla="*/ 2829593 w 2920949"/>
              <a:gd name="connsiteY122" fmla="*/ 1537409 h 5241937"/>
              <a:gd name="connsiteX123" fmla="*/ 2633769 w 2920949"/>
              <a:gd name="connsiteY123" fmla="*/ 1470922 h 5241937"/>
              <a:gd name="connsiteX124" fmla="*/ 2558043 w 2920949"/>
              <a:gd name="connsiteY124" fmla="*/ 1436275 h 5241937"/>
              <a:gd name="connsiteX125" fmla="*/ 2593880 w 2920949"/>
              <a:gd name="connsiteY125" fmla="*/ 1332662 h 5241937"/>
              <a:gd name="connsiteX126" fmla="*/ 2649734 w 2920949"/>
              <a:gd name="connsiteY126" fmla="*/ 674777 h 5241937"/>
              <a:gd name="connsiteX127" fmla="*/ 2529284 w 2920949"/>
              <a:gd name="connsiteY127" fmla="*/ 467907 h 5241937"/>
              <a:gd name="connsiteX128" fmla="*/ 2454957 w 2920949"/>
              <a:gd name="connsiteY128" fmla="*/ 439366 h 5241937"/>
              <a:gd name="connsiteX129" fmla="*/ 1798248 w 2920949"/>
              <a:gd name="connsiteY129" fmla="*/ 371047 h 5241937"/>
              <a:gd name="connsiteX130" fmla="*/ 1689923 w 2920949"/>
              <a:gd name="connsiteY130" fmla="*/ 386826 h 5241937"/>
              <a:gd name="connsiteX131" fmla="*/ 1668101 w 2920949"/>
              <a:gd name="connsiteY131" fmla="*/ 297248 h 5241937"/>
              <a:gd name="connsiteX132" fmla="*/ 1639324 w 2920949"/>
              <a:gd name="connsiteY132" fmla="*/ 68486 h 5241937"/>
              <a:gd name="connsiteX133" fmla="*/ 1638610 w 2920949"/>
              <a:gd name="connsiteY133" fmla="*/ 12152 h 5241937"/>
              <a:gd name="connsiteX134" fmla="*/ 1715535 w 2920949"/>
              <a:gd name="connsiteY134" fmla="*/ 22454 h 5241937"/>
              <a:gd name="connsiteX135" fmla="*/ 2484696 w 2920949"/>
              <a:gd name="connsiteY135" fmla="*/ 419238 h 524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920949" h="5241937">
                <a:moveTo>
                  <a:pt x="1626119" y="3897576"/>
                </a:moveTo>
                <a:lnTo>
                  <a:pt x="1626119" y="5162252"/>
                </a:lnTo>
                <a:cubicBezTo>
                  <a:pt x="1626119" y="5206261"/>
                  <a:pt x="1590443" y="5241937"/>
                  <a:pt x="1546434" y="5241937"/>
                </a:cubicBezTo>
                <a:lnTo>
                  <a:pt x="1227703" y="5241937"/>
                </a:lnTo>
                <a:cubicBezTo>
                  <a:pt x="1183694" y="5241937"/>
                  <a:pt x="1148017" y="5206260"/>
                  <a:pt x="1148017" y="5162251"/>
                </a:cubicBezTo>
                <a:lnTo>
                  <a:pt x="1148017" y="3897576"/>
                </a:lnTo>
                <a:close/>
                <a:moveTo>
                  <a:pt x="1625898" y="3455312"/>
                </a:moveTo>
                <a:lnTo>
                  <a:pt x="1626119" y="3457508"/>
                </a:lnTo>
                <a:lnTo>
                  <a:pt x="1626119" y="3791332"/>
                </a:lnTo>
                <a:lnTo>
                  <a:pt x="1148017" y="3791332"/>
                </a:lnTo>
                <a:lnTo>
                  <a:pt x="1148017" y="3457508"/>
                </a:lnTo>
                <a:lnTo>
                  <a:pt x="1148239" y="3455312"/>
                </a:lnTo>
                <a:lnTo>
                  <a:pt x="1202633" y="3469298"/>
                </a:lnTo>
                <a:cubicBezTo>
                  <a:pt x="1262208" y="3481489"/>
                  <a:pt x="1323891" y="3487891"/>
                  <a:pt x="1387068" y="3487891"/>
                </a:cubicBezTo>
                <a:cubicBezTo>
                  <a:pt x="1450247" y="3487891"/>
                  <a:pt x="1511930" y="3481489"/>
                  <a:pt x="1571504" y="3469298"/>
                </a:cubicBezTo>
                <a:close/>
                <a:moveTo>
                  <a:pt x="375418" y="1454520"/>
                </a:moveTo>
                <a:lnTo>
                  <a:pt x="373440" y="1459055"/>
                </a:lnTo>
                <a:cubicBezTo>
                  <a:pt x="262226" y="1736422"/>
                  <a:pt x="228776" y="2035747"/>
                  <a:pt x="284882" y="2321602"/>
                </a:cubicBezTo>
                <a:lnTo>
                  <a:pt x="285692" y="2325008"/>
                </a:lnTo>
                <a:lnTo>
                  <a:pt x="245876" y="2271617"/>
                </a:lnTo>
                <a:cubicBezTo>
                  <a:pt x="76958" y="2019340"/>
                  <a:pt x="-3695" y="1729351"/>
                  <a:pt x="129" y="1441765"/>
                </a:cubicBezTo>
                <a:lnTo>
                  <a:pt x="5991" y="1335739"/>
                </a:lnTo>
                <a:lnTo>
                  <a:pt x="84100" y="1351656"/>
                </a:lnTo>
                <a:cubicBezTo>
                  <a:pt x="183147" y="1375477"/>
                  <a:pt x="280531" y="1409838"/>
                  <a:pt x="374539" y="1454071"/>
                </a:cubicBezTo>
                <a:close/>
                <a:moveTo>
                  <a:pt x="702268" y="1662631"/>
                </a:moveTo>
                <a:lnTo>
                  <a:pt x="695699" y="1667530"/>
                </a:lnTo>
                <a:cubicBezTo>
                  <a:pt x="582522" y="1761172"/>
                  <a:pt x="493679" y="1873320"/>
                  <a:pt x="429930" y="1995940"/>
                </a:cubicBezTo>
                <a:lnTo>
                  <a:pt x="391622" y="2079325"/>
                </a:lnTo>
                <a:lnTo>
                  <a:pt x="389042" y="2023331"/>
                </a:lnTo>
                <a:cubicBezTo>
                  <a:pt x="391557" y="1859138"/>
                  <a:pt x="423950" y="1694295"/>
                  <a:pt x="483632" y="1536432"/>
                </a:cubicBezTo>
                <a:lnTo>
                  <a:pt x="491906" y="1516246"/>
                </a:lnTo>
                <a:lnTo>
                  <a:pt x="557544" y="1555494"/>
                </a:lnTo>
                <a:close/>
                <a:moveTo>
                  <a:pt x="923685" y="903338"/>
                </a:moveTo>
                <a:lnTo>
                  <a:pt x="1354605" y="1424156"/>
                </a:lnTo>
                <a:lnTo>
                  <a:pt x="1269835" y="1428325"/>
                </a:lnTo>
                <a:cubicBezTo>
                  <a:pt x="1133865" y="1441565"/>
                  <a:pt x="999469" y="1481037"/>
                  <a:pt x="874678" y="1547499"/>
                </a:cubicBezTo>
                <a:lnTo>
                  <a:pt x="814475" y="1583569"/>
                </a:lnTo>
                <a:lnTo>
                  <a:pt x="810286" y="1579794"/>
                </a:lnTo>
                <a:cubicBezTo>
                  <a:pt x="750520" y="1529437"/>
                  <a:pt x="687965" y="1483483"/>
                  <a:pt x="623180" y="1442146"/>
                </a:cubicBezTo>
                <a:lnTo>
                  <a:pt x="545271" y="1395995"/>
                </a:lnTo>
                <a:lnTo>
                  <a:pt x="552314" y="1381180"/>
                </a:lnTo>
                <a:cubicBezTo>
                  <a:pt x="629901" y="1228819"/>
                  <a:pt x="733912" y="1085982"/>
                  <a:pt x="861759" y="960298"/>
                </a:cubicBezTo>
                <a:close/>
                <a:moveTo>
                  <a:pt x="486233" y="374626"/>
                </a:moveTo>
                <a:lnTo>
                  <a:pt x="840160" y="802388"/>
                </a:lnTo>
                <a:lnTo>
                  <a:pt x="768520" y="868389"/>
                </a:lnTo>
                <a:cubicBezTo>
                  <a:pt x="643493" y="991596"/>
                  <a:pt x="539638" y="1130087"/>
                  <a:pt x="458974" y="1277786"/>
                </a:cubicBezTo>
                <a:lnTo>
                  <a:pt x="429542" y="1335669"/>
                </a:lnTo>
                <a:lnTo>
                  <a:pt x="422697" y="1332207"/>
                </a:lnTo>
                <a:cubicBezTo>
                  <a:pt x="319671" y="1284380"/>
                  <a:pt x="212893" y="1247429"/>
                  <a:pt x="104253" y="1222082"/>
                </a:cubicBezTo>
                <a:lnTo>
                  <a:pt x="22708" y="1206061"/>
                </a:lnTo>
                <a:lnTo>
                  <a:pt x="24006" y="1196788"/>
                </a:lnTo>
                <a:cubicBezTo>
                  <a:pt x="75793" y="913849"/>
                  <a:pt x="210974" y="644776"/>
                  <a:pt x="425759" y="429682"/>
                </a:cubicBezTo>
                <a:close/>
                <a:moveTo>
                  <a:pt x="1869984" y="2016576"/>
                </a:moveTo>
                <a:cubicBezTo>
                  <a:pt x="1746395" y="1892988"/>
                  <a:pt x="1575659" y="1816547"/>
                  <a:pt x="1387068" y="1816546"/>
                </a:cubicBezTo>
                <a:cubicBezTo>
                  <a:pt x="1009888" y="1816546"/>
                  <a:pt x="704123" y="2122311"/>
                  <a:pt x="704123" y="2499492"/>
                </a:cubicBezTo>
                <a:cubicBezTo>
                  <a:pt x="704123" y="2876672"/>
                  <a:pt x="1009888" y="3182437"/>
                  <a:pt x="1387069" y="3182437"/>
                </a:cubicBezTo>
                <a:cubicBezTo>
                  <a:pt x="1764249" y="3182437"/>
                  <a:pt x="2070014" y="2876672"/>
                  <a:pt x="2070014" y="2499492"/>
                </a:cubicBezTo>
                <a:cubicBezTo>
                  <a:pt x="2070014" y="2310902"/>
                  <a:pt x="1993572" y="2140165"/>
                  <a:pt x="1869984" y="2016576"/>
                </a:cubicBezTo>
                <a:close/>
                <a:moveTo>
                  <a:pt x="2093246" y="1917368"/>
                </a:moveTo>
                <a:cubicBezTo>
                  <a:pt x="2223798" y="2075561"/>
                  <a:pt x="2302223" y="2278368"/>
                  <a:pt x="2302223" y="2499492"/>
                </a:cubicBezTo>
                <a:cubicBezTo>
                  <a:pt x="2302223" y="3004917"/>
                  <a:pt x="1892494" y="3414646"/>
                  <a:pt x="1387069" y="3414646"/>
                </a:cubicBezTo>
                <a:cubicBezTo>
                  <a:pt x="881643" y="3414646"/>
                  <a:pt x="471914" y="3004917"/>
                  <a:pt x="471914" y="2499491"/>
                </a:cubicBezTo>
                <a:cubicBezTo>
                  <a:pt x="471914" y="1994066"/>
                  <a:pt x="881643" y="1584337"/>
                  <a:pt x="1387068" y="1584337"/>
                </a:cubicBezTo>
                <a:cubicBezTo>
                  <a:pt x="1671370" y="1584337"/>
                  <a:pt x="1925393" y="1713978"/>
                  <a:pt x="2093246" y="1917368"/>
                </a:cubicBezTo>
                <a:close/>
                <a:moveTo>
                  <a:pt x="2390505" y="1496124"/>
                </a:moveTo>
                <a:lnTo>
                  <a:pt x="2343583" y="1587817"/>
                </a:lnTo>
                <a:cubicBezTo>
                  <a:pt x="2301302" y="1664123"/>
                  <a:pt x="2252322" y="1737685"/>
                  <a:pt x="2197033" y="1807513"/>
                </a:cubicBezTo>
                <a:lnTo>
                  <a:pt x="2194605" y="1810334"/>
                </a:lnTo>
                <a:lnTo>
                  <a:pt x="2193625" y="1809019"/>
                </a:lnTo>
                <a:cubicBezTo>
                  <a:pt x="2029751" y="1610958"/>
                  <a:pt x="1809206" y="1487423"/>
                  <a:pt x="1575034" y="1442481"/>
                </a:cubicBezTo>
                <a:lnTo>
                  <a:pt x="1574032" y="1442338"/>
                </a:lnTo>
                <a:lnTo>
                  <a:pt x="1947676" y="1133189"/>
                </a:lnTo>
                <a:lnTo>
                  <a:pt x="2014070" y="1205256"/>
                </a:lnTo>
                <a:cubicBezTo>
                  <a:pt x="2126717" y="1319566"/>
                  <a:pt x="2252139" y="1416178"/>
                  <a:pt x="2385694" y="1493549"/>
                </a:cubicBezTo>
                <a:close/>
                <a:moveTo>
                  <a:pt x="1600104" y="540071"/>
                </a:moveTo>
                <a:lnTo>
                  <a:pt x="1606851" y="561201"/>
                </a:lnTo>
                <a:cubicBezTo>
                  <a:pt x="1665331" y="723213"/>
                  <a:pt x="1749025" y="879263"/>
                  <a:pt x="1856716" y="1022616"/>
                </a:cubicBezTo>
                <a:lnTo>
                  <a:pt x="1873233" y="1043140"/>
                </a:lnTo>
                <a:lnTo>
                  <a:pt x="1468243" y="1378225"/>
                </a:lnTo>
                <a:lnTo>
                  <a:pt x="1013583" y="828714"/>
                </a:lnTo>
                <a:lnTo>
                  <a:pt x="1029163" y="816174"/>
                </a:lnTo>
                <a:cubicBezTo>
                  <a:pt x="1175009" y="706498"/>
                  <a:pt x="1334995" y="623632"/>
                  <a:pt x="1500740" y="569141"/>
                </a:cubicBezTo>
                <a:close/>
                <a:moveTo>
                  <a:pt x="2902076" y="1687503"/>
                </a:moveTo>
                <a:lnTo>
                  <a:pt x="2896943" y="1724163"/>
                </a:lnTo>
                <a:cubicBezTo>
                  <a:pt x="2845156" y="2007099"/>
                  <a:pt x="2709975" y="2276174"/>
                  <a:pt x="2495190" y="2491268"/>
                </a:cubicBezTo>
                <a:lnTo>
                  <a:pt x="2435029" y="2546038"/>
                </a:lnTo>
                <a:lnTo>
                  <a:pt x="2437853" y="2485301"/>
                </a:lnTo>
                <a:cubicBezTo>
                  <a:pt x="2437639" y="2314983"/>
                  <a:pt x="2396734" y="2143986"/>
                  <a:pt x="2313656" y="1987998"/>
                </a:cubicBezTo>
                <a:lnTo>
                  <a:pt x="2272807" y="1919817"/>
                </a:lnTo>
                <a:lnTo>
                  <a:pt x="2302295" y="1885407"/>
                </a:lnTo>
                <a:cubicBezTo>
                  <a:pt x="2362472" y="1809000"/>
                  <a:pt x="2415687" y="1728453"/>
                  <a:pt x="2461518" y="1644859"/>
                </a:cubicBezTo>
                <a:lnTo>
                  <a:pt x="2506209" y="1556473"/>
                </a:lnTo>
                <a:lnTo>
                  <a:pt x="2591544" y="1594980"/>
                </a:lnTo>
                <a:cubicBezTo>
                  <a:pt x="2661807" y="1623851"/>
                  <a:pt x="2733522" y="1647719"/>
                  <a:pt x="2806110" y="1666389"/>
                </a:cubicBezTo>
                <a:close/>
                <a:moveTo>
                  <a:pt x="1507917" y="1888"/>
                </a:moveTo>
                <a:lnTo>
                  <a:pt x="1508268" y="64022"/>
                </a:lnTo>
                <a:cubicBezTo>
                  <a:pt x="1511685" y="147620"/>
                  <a:pt x="1521711" y="231412"/>
                  <a:pt x="1538192" y="314555"/>
                </a:cubicBezTo>
                <a:lnTo>
                  <a:pt x="1562150" y="415211"/>
                </a:lnTo>
                <a:lnTo>
                  <a:pt x="1466789" y="442612"/>
                </a:lnTo>
                <a:cubicBezTo>
                  <a:pt x="1285397" y="501347"/>
                  <a:pt x="1110440" y="591379"/>
                  <a:pt x="951159" y="711035"/>
                </a:cubicBezTo>
                <a:lnTo>
                  <a:pt x="930184" y="727916"/>
                </a:lnTo>
                <a:lnTo>
                  <a:pt x="576250" y="300146"/>
                </a:lnTo>
                <a:lnTo>
                  <a:pt x="641655" y="251051"/>
                </a:lnTo>
                <a:cubicBezTo>
                  <a:pt x="893162" y="80340"/>
                  <a:pt x="1182788" y="-2070"/>
                  <a:pt x="1470419" y="39"/>
                </a:cubicBezTo>
                <a:close/>
                <a:moveTo>
                  <a:pt x="2514860" y="663906"/>
                </a:moveTo>
                <a:lnTo>
                  <a:pt x="2521657" y="703417"/>
                </a:lnTo>
                <a:cubicBezTo>
                  <a:pt x="2548012" y="903060"/>
                  <a:pt x="2527733" y="1107491"/>
                  <a:pt x="2466185" y="1302989"/>
                </a:cubicBezTo>
                <a:lnTo>
                  <a:pt x="2441079" y="1374178"/>
                </a:lnTo>
                <a:lnTo>
                  <a:pt x="2355721" y="1320358"/>
                </a:lnTo>
                <a:cubicBezTo>
                  <a:pt x="2267162" y="1260340"/>
                  <a:pt x="2183322" y="1190691"/>
                  <a:pt x="2105978" y="1112017"/>
                </a:cubicBezTo>
                <a:lnTo>
                  <a:pt x="2048626" y="1049664"/>
                </a:lnTo>
                <a:close/>
                <a:moveTo>
                  <a:pt x="2440380" y="573888"/>
                </a:moveTo>
                <a:lnTo>
                  <a:pt x="1974031" y="959741"/>
                </a:lnTo>
                <a:lnTo>
                  <a:pt x="1961855" y="944612"/>
                </a:lnTo>
                <a:cubicBezTo>
                  <a:pt x="1863147" y="813350"/>
                  <a:pt x="1786154" y="670636"/>
                  <a:pt x="1732019" y="522578"/>
                </a:cubicBezTo>
                <a:lnTo>
                  <a:pt x="1729026" y="513347"/>
                </a:lnTo>
                <a:lnTo>
                  <a:pt x="1803487" y="502040"/>
                </a:lnTo>
                <a:cubicBezTo>
                  <a:pt x="2007051" y="478186"/>
                  <a:pt x="2211664" y="496544"/>
                  <a:pt x="2402841" y="559816"/>
                </a:cubicBezTo>
                <a:close/>
                <a:moveTo>
                  <a:pt x="2635615" y="596420"/>
                </a:moveTo>
                <a:lnTo>
                  <a:pt x="2675073" y="649332"/>
                </a:lnTo>
                <a:cubicBezTo>
                  <a:pt x="2843992" y="901609"/>
                  <a:pt x="2924644" y="1191598"/>
                  <a:pt x="2920820" y="1479184"/>
                </a:cubicBezTo>
                <a:lnTo>
                  <a:pt x="2916510" y="1557144"/>
                </a:lnTo>
                <a:lnTo>
                  <a:pt x="2829593" y="1537409"/>
                </a:lnTo>
                <a:cubicBezTo>
                  <a:pt x="2763363" y="1519914"/>
                  <a:pt x="2697912" y="1497691"/>
                  <a:pt x="2633769" y="1470922"/>
                </a:cubicBezTo>
                <a:lnTo>
                  <a:pt x="2558043" y="1436275"/>
                </a:lnTo>
                <a:lnTo>
                  <a:pt x="2593880" y="1332662"/>
                </a:lnTo>
                <a:cubicBezTo>
                  <a:pt x="2659885" y="1118285"/>
                  <a:pt x="2680444" y="893941"/>
                  <a:pt x="2649734" y="674777"/>
                </a:cubicBezTo>
                <a:close/>
                <a:moveTo>
                  <a:pt x="2529284" y="467907"/>
                </a:moveTo>
                <a:lnTo>
                  <a:pt x="2454957" y="439366"/>
                </a:lnTo>
                <a:cubicBezTo>
                  <a:pt x="2245418" y="368163"/>
                  <a:pt x="2021193" y="346351"/>
                  <a:pt x="1798248" y="371047"/>
                </a:cubicBezTo>
                <a:lnTo>
                  <a:pt x="1689923" y="386826"/>
                </a:lnTo>
                <a:lnTo>
                  <a:pt x="1668101" y="297248"/>
                </a:lnTo>
                <a:cubicBezTo>
                  <a:pt x="1652604" y="221311"/>
                  <a:pt x="1642965" y="144802"/>
                  <a:pt x="1639324" y="68486"/>
                </a:cubicBezTo>
                <a:lnTo>
                  <a:pt x="1638610" y="12152"/>
                </a:lnTo>
                <a:lnTo>
                  <a:pt x="1715535" y="22454"/>
                </a:lnTo>
                <a:cubicBezTo>
                  <a:pt x="1998750" y="72546"/>
                  <a:pt x="2268509" y="206070"/>
                  <a:pt x="2484696" y="419238"/>
                </a:cubicBezTo>
                <a:close/>
              </a:path>
            </a:pathLst>
          </a:custGeom>
          <a:solidFill>
            <a:schemeClr val="bg1"/>
          </a:solidFill>
          <a:ln w="9525" cap="flat" cmpd="sng" algn="ctr">
            <a:noFill/>
            <a:prstDash val="solid"/>
            <a:round/>
            <a:headEnd type="none" w="med" len="med"/>
            <a:tailEnd type="none" w="med" len="med"/>
          </a:ln>
          <a:effectLst/>
        </p:spPr>
        <p:txBody>
          <a:bodyPr vert="horz" wrap="square" lIns="0" tIns="0" rIns="0" bIns="0" numCol="1" spcCol="0" rtlCol="0" fromWordArt="0" anchor="ctr" anchorCtr="0" forceAA="0" compatLnSpc="1">
            <a:prstTxWarp prst="textNoShape">
              <a:avLst/>
            </a:prstTxWarp>
            <a:noAutofit/>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dirty="0">
              <a:ln>
                <a:noFill/>
              </a:ln>
              <a:solidFill>
                <a:schemeClr val="tx1"/>
              </a:solidFill>
              <a:effectLst/>
              <a:latin typeface="Arial" charset="0"/>
            </a:endParaRPr>
          </a:p>
        </p:txBody>
      </p:sp>
      <p:grpSp>
        <p:nvGrpSpPr>
          <p:cNvPr id="116" name="Group 115">
            <a:extLst>
              <a:ext uri="{FF2B5EF4-FFF2-40B4-BE49-F238E27FC236}">
                <a16:creationId xmlns:a16="http://schemas.microsoft.com/office/drawing/2014/main" id="{D7753833-E48B-6F4E-84F6-4A17B65F5E35}"/>
              </a:ext>
            </a:extLst>
          </p:cNvPr>
          <p:cNvGrpSpPr>
            <a:grpSpLocks noChangeAspect="1"/>
          </p:cNvGrpSpPr>
          <p:nvPr/>
        </p:nvGrpSpPr>
        <p:grpSpPr>
          <a:xfrm>
            <a:off x="3069627" y="2905825"/>
            <a:ext cx="244540" cy="243825"/>
            <a:chOff x="-4559301" y="1560513"/>
            <a:chExt cx="3803650" cy="3792537"/>
          </a:xfrm>
          <a:solidFill>
            <a:schemeClr val="bg1"/>
          </a:solidFill>
        </p:grpSpPr>
        <p:sp>
          <p:nvSpPr>
            <p:cNvPr id="117" name="Freeform 6">
              <a:extLst>
                <a:ext uri="{FF2B5EF4-FFF2-40B4-BE49-F238E27FC236}">
                  <a16:creationId xmlns:a16="http://schemas.microsoft.com/office/drawing/2014/main" id="{14AF484D-0828-884D-BBB2-B0DCD9DD2A92}"/>
                </a:ext>
              </a:extLst>
            </p:cNvPr>
            <p:cNvSpPr>
              <a:spLocks/>
            </p:cNvSpPr>
            <p:nvPr/>
          </p:nvSpPr>
          <p:spPr bwMode="auto">
            <a:xfrm>
              <a:off x="-1924051" y="4187825"/>
              <a:ext cx="1168400" cy="1165225"/>
            </a:xfrm>
            <a:custGeom>
              <a:avLst/>
              <a:gdLst>
                <a:gd name="T0" fmla="*/ 269 w 540"/>
                <a:gd name="T1" fmla="*/ 540 h 540"/>
                <a:gd name="T2" fmla="*/ 43 w 540"/>
                <a:gd name="T3" fmla="*/ 540 h 540"/>
                <a:gd name="T4" fmla="*/ 0 w 540"/>
                <a:gd name="T5" fmla="*/ 497 h 540"/>
                <a:gd name="T6" fmla="*/ 0 w 540"/>
                <a:gd name="T7" fmla="*/ 43 h 540"/>
                <a:gd name="T8" fmla="*/ 44 w 540"/>
                <a:gd name="T9" fmla="*/ 0 h 540"/>
                <a:gd name="T10" fmla="*/ 496 w 540"/>
                <a:gd name="T11" fmla="*/ 0 h 540"/>
                <a:gd name="T12" fmla="*/ 540 w 540"/>
                <a:gd name="T13" fmla="*/ 44 h 540"/>
                <a:gd name="T14" fmla="*/ 540 w 540"/>
                <a:gd name="T15" fmla="*/ 498 h 540"/>
                <a:gd name="T16" fmla="*/ 497 w 540"/>
                <a:gd name="T17" fmla="*/ 540 h 540"/>
                <a:gd name="T18" fmla="*/ 269 w 540"/>
                <a:gd name="T19"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0" h="540">
                  <a:moveTo>
                    <a:pt x="269" y="540"/>
                  </a:moveTo>
                  <a:cubicBezTo>
                    <a:pt x="193" y="540"/>
                    <a:pt x="118" y="540"/>
                    <a:pt x="43" y="540"/>
                  </a:cubicBezTo>
                  <a:cubicBezTo>
                    <a:pt x="10" y="540"/>
                    <a:pt x="0" y="530"/>
                    <a:pt x="0" y="497"/>
                  </a:cubicBezTo>
                  <a:cubicBezTo>
                    <a:pt x="0" y="346"/>
                    <a:pt x="0" y="195"/>
                    <a:pt x="0" y="43"/>
                  </a:cubicBezTo>
                  <a:cubicBezTo>
                    <a:pt x="0" y="10"/>
                    <a:pt x="10" y="0"/>
                    <a:pt x="44" y="0"/>
                  </a:cubicBezTo>
                  <a:cubicBezTo>
                    <a:pt x="195" y="0"/>
                    <a:pt x="345" y="0"/>
                    <a:pt x="496" y="0"/>
                  </a:cubicBezTo>
                  <a:cubicBezTo>
                    <a:pt x="530" y="0"/>
                    <a:pt x="540" y="9"/>
                    <a:pt x="540" y="44"/>
                  </a:cubicBezTo>
                  <a:cubicBezTo>
                    <a:pt x="540" y="195"/>
                    <a:pt x="540" y="346"/>
                    <a:pt x="540" y="498"/>
                  </a:cubicBezTo>
                  <a:cubicBezTo>
                    <a:pt x="540" y="531"/>
                    <a:pt x="530" y="540"/>
                    <a:pt x="497" y="540"/>
                  </a:cubicBezTo>
                  <a:cubicBezTo>
                    <a:pt x="421" y="540"/>
                    <a:pt x="345" y="540"/>
                    <a:pt x="269" y="5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7">
              <a:extLst>
                <a:ext uri="{FF2B5EF4-FFF2-40B4-BE49-F238E27FC236}">
                  <a16:creationId xmlns:a16="http://schemas.microsoft.com/office/drawing/2014/main" id="{F49747BF-2850-DE43-8F6A-2697D1BDB459}"/>
                </a:ext>
              </a:extLst>
            </p:cNvPr>
            <p:cNvSpPr>
              <a:spLocks/>
            </p:cNvSpPr>
            <p:nvPr/>
          </p:nvSpPr>
          <p:spPr bwMode="auto">
            <a:xfrm>
              <a:off x="-1924051" y="2874963"/>
              <a:ext cx="1168400" cy="1165225"/>
            </a:xfrm>
            <a:custGeom>
              <a:avLst/>
              <a:gdLst>
                <a:gd name="T0" fmla="*/ 268 w 540"/>
                <a:gd name="T1" fmla="*/ 540 h 540"/>
                <a:gd name="T2" fmla="*/ 41 w 540"/>
                <a:gd name="T3" fmla="*/ 540 h 540"/>
                <a:gd name="T4" fmla="*/ 0 w 540"/>
                <a:gd name="T5" fmla="*/ 499 h 540"/>
                <a:gd name="T6" fmla="*/ 0 w 540"/>
                <a:gd name="T7" fmla="*/ 41 h 540"/>
                <a:gd name="T8" fmla="*/ 41 w 540"/>
                <a:gd name="T9" fmla="*/ 0 h 540"/>
                <a:gd name="T10" fmla="*/ 498 w 540"/>
                <a:gd name="T11" fmla="*/ 0 h 540"/>
                <a:gd name="T12" fmla="*/ 540 w 540"/>
                <a:gd name="T13" fmla="*/ 40 h 540"/>
                <a:gd name="T14" fmla="*/ 540 w 540"/>
                <a:gd name="T15" fmla="*/ 500 h 540"/>
                <a:gd name="T16" fmla="*/ 500 w 540"/>
                <a:gd name="T17" fmla="*/ 540 h 540"/>
                <a:gd name="T18" fmla="*/ 268 w 540"/>
                <a:gd name="T19" fmla="*/ 54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0" h="540">
                  <a:moveTo>
                    <a:pt x="268" y="540"/>
                  </a:moveTo>
                  <a:cubicBezTo>
                    <a:pt x="192" y="540"/>
                    <a:pt x="116" y="540"/>
                    <a:pt x="41" y="540"/>
                  </a:cubicBezTo>
                  <a:cubicBezTo>
                    <a:pt x="10" y="540"/>
                    <a:pt x="0" y="529"/>
                    <a:pt x="0" y="499"/>
                  </a:cubicBezTo>
                  <a:cubicBezTo>
                    <a:pt x="0" y="346"/>
                    <a:pt x="0" y="194"/>
                    <a:pt x="0" y="41"/>
                  </a:cubicBezTo>
                  <a:cubicBezTo>
                    <a:pt x="0" y="11"/>
                    <a:pt x="11" y="0"/>
                    <a:pt x="41" y="0"/>
                  </a:cubicBezTo>
                  <a:cubicBezTo>
                    <a:pt x="193" y="0"/>
                    <a:pt x="346" y="0"/>
                    <a:pt x="498" y="0"/>
                  </a:cubicBezTo>
                  <a:cubicBezTo>
                    <a:pt x="529" y="0"/>
                    <a:pt x="540" y="10"/>
                    <a:pt x="540" y="40"/>
                  </a:cubicBezTo>
                  <a:cubicBezTo>
                    <a:pt x="540" y="193"/>
                    <a:pt x="540" y="347"/>
                    <a:pt x="540" y="500"/>
                  </a:cubicBezTo>
                  <a:cubicBezTo>
                    <a:pt x="540" y="530"/>
                    <a:pt x="530" y="540"/>
                    <a:pt x="500" y="540"/>
                  </a:cubicBezTo>
                  <a:cubicBezTo>
                    <a:pt x="423" y="540"/>
                    <a:pt x="346" y="540"/>
                    <a:pt x="268" y="5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8">
              <a:extLst>
                <a:ext uri="{FF2B5EF4-FFF2-40B4-BE49-F238E27FC236}">
                  <a16:creationId xmlns:a16="http://schemas.microsoft.com/office/drawing/2014/main" id="{EFA66FBF-7D24-504B-8EBE-D046CC476CC6}"/>
                </a:ext>
              </a:extLst>
            </p:cNvPr>
            <p:cNvSpPr>
              <a:spLocks/>
            </p:cNvSpPr>
            <p:nvPr/>
          </p:nvSpPr>
          <p:spPr bwMode="auto">
            <a:xfrm>
              <a:off x="-3240088" y="4187825"/>
              <a:ext cx="1168400" cy="1165225"/>
            </a:xfrm>
            <a:custGeom>
              <a:avLst/>
              <a:gdLst>
                <a:gd name="T0" fmla="*/ 540 w 540"/>
                <a:gd name="T1" fmla="*/ 270 h 540"/>
                <a:gd name="T2" fmla="*/ 540 w 540"/>
                <a:gd name="T3" fmla="*/ 498 h 540"/>
                <a:gd name="T4" fmla="*/ 498 w 540"/>
                <a:gd name="T5" fmla="*/ 540 h 540"/>
                <a:gd name="T6" fmla="*/ 42 w 540"/>
                <a:gd name="T7" fmla="*/ 540 h 540"/>
                <a:gd name="T8" fmla="*/ 0 w 540"/>
                <a:gd name="T9" fmla="*/ 497 h 540"/>
                <a:gd name="T10" fmla="*/ 0 w 540"/>
                <a:gd name="T11" fmla="*/ 43 h 540"/>
                <a:gd name="T12" fmla="*/ 43 w 540"/>
                <a:gd name="T13" fmla="*/ 0 h 540"/>
                <a:gd name="T14" fmla="*/ 497 w 540"/>
                <a:gd name="T15" fmla="*/ 0 h 540"/>
                <a:gd name="T16" fmla="*/ 540 w 540"/>
                <a:gd name="T17" fmla="*/ 42 h 540"/>
                <a:gd name="T18" fmla="*/ 540 w 540"/>
                <a:gd name="T19" fmla="*/ 27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0" h="540">
                  <a:moveTo>
                    <a:pt x="540" y="270"/>
                  </a:moveTo>
                  <a:cubicBezTo>
                    <a:pt x="540" y="346"/>
                    <a:pt x="540" y="422"/>
                    <a:pt x="540" y="498"/>
                  </a:cubicBezTo>
                  <a:cubicBezTo>
                    <a:pt x="540" y="531"/>
                    <a:pt x="530" y="540"/>
                    <a:pt x="498" y="540"/>
                  </a:cubicBezTo>
                  <a:cubicBezTo>
                    <a:pt x="346" y="540"/>
                    <a:pt x="194" y="540"/>
                    <a:pt x="42" y="540"/>
                  </a:cubicBezTo>
                  <a:cubicBezTo>
                    <a:pt x="10" y="540"/>
                    <a:pt x="0" y="530"/>
                    <a:pt x="0" y="497"/>
                  </a:cubicBezTo>
                  <a:cubicBezTo>
                    <a:pt x="0" y="346"/>
                    <a:pt x="0" y="194"/>
                    <a:pt x="0" y="43"/>
                  </a:cubicBezTo>
                  <a:cubicBezTo>
                    <a:pt x="0" y="11"/>
                    <a:pt x="11" y="0"/>
                    <a:pt x="43" y="0"/>
                  </a:cubicBezTo>
                  <a:cubicBezTo>
                    <a:pt x="194" y="0"/>
                    <a:pt x="346" y="0"/>
                    <a:pt x="497" y="0"/>
                  </a:cubicBezTo>
                  <a:cubicBezTo>
                    <a:pt x="530" y="0"/>
                    <a:pt x="540" y="10"/>
                    <a:pt x="540" y="42"/>
                  </a:cubicBezTo>
                  <a:cubicBezTo>
                    <a:pt x="540" y="118"/>
                    <a:pt x="540" y="194"/>
                    <a:pt x="540"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2">
              <a:extLst>
                <a:ext uri="{FF2B5EF4-FFF2-40B4-BE49-F238E27FC236}">
                  <a16:creationId xmlns:a16="http://schemas.microsoft.com/office/drawing/2014/main" id="{83AFBE8C-6BEA-0D4A-A160-3A49F24A7EE6}"/>
                </a:ext>
              </a:extLst>
            </p:cNvPr>
            <p:cNvSpPr>
              <a:spLocks noEditPoints="1"/>
            </p:cNvSpPr>
            <p:nvPr/>
          </p:nvSpPr>
          <p:spPr bwMode="auto">
            <a:xfrm>
              <a:off x="-4559301" y="1560513"/>
              <a:ext cx="1171575" cy="1166813"/>
            </a:xfrm>
            <a:custGeom>
              <a:avLst/>
              <a:gdLst>
                <a:gd name="T0" fmla="*/ 272 w 541"/>
                <a:gd name="T1" fmla="*/ 541 h 541"/>
                <a:gd name="T2" fmla="*/ 42 w 541"/>
                <a:gd name="T3" fmla="*/ 541 h 541"/>
                <a:gd name="T4" fmla="*/ 1 w 541"/>
                <a:gd name="T5" fmla="*/ 500 h 541"/>
                <a:gd name="T6" fmla="*/ 1 w 541"/>
                <a:gd name="T7" fmla="*/ 42 h 541"/>
                <a:gd name="T8" fmla="*/ 43 w 541"/>
                <a:gd name="T9" fmla="*/ 0 h 541"/>
                <a:gd name="T10" fmla="*/ 499 w 541"/>
                <a:gd name="T11" fmla="*/ 0 h 541"/>
                <a:gd name="T12" fmla="*/ 541 w 541"/>
                <a:gd name="T13" fmla="*/ 43 h 541"/>
                <a:gd name="T14" fmla="*/ 541 w 541"/>
                <a:gd name="T15" fmla="*/ 499 h 541"/>
                <a:gd name="T16" fmla="*/ 498 w 541"/>
                <a:gd name="T17" fmla="*/ 541 h 541"/>
                <a:gd name="T18" fmla="*/ 272 w 541"/>
                <a:gd name="T19" fmla="*/ 541 h 541"/>
                <a:gd name="T20" fmla="*/ 478 w 541"/>
                <a:gd name="T21" fmla="*/ 478 h 541"/>
                <a:gd name="T22" fmla="*/ 478 w 541"/>
                <a:gd name="T23" fmla="*/ 64 h 541"/>
                <a:gd name="T24" fmla="*/ 65 w 541"/>
                <a:gd name="T25" fmla="*/ 64 h 541"/>
                <a:gd name="T26" fmla="*/ 65 w 541"/>
                <a:gd name="T27" fmla="*/ 478 h 541"/>
                <a:gd name="T28" fmla="*/ 478 w 541"/>
                <a:gd name="T29" fmla="*/ 47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1" h="541">
                  <a:moveTo>
                    <a:pt x="272" y="541"/>
                  </a:moveTo>
                  <a:cubicBezTo>
                    <a:pt x="195" y="541"/>
                    <a:pt x="119" y="541"/>
                    <a:pt x="42" y="541"/>
                  </a:cubicBezTo>
                  <a:cubicBezTo>
                    <a:pt x="12" y="541"/>
                    <a:pt x="1" y="530"/>
                    <a:pt x="1" y="500"/>
                  </a:cubicBezTo>
                  <a:cubicBezTo>
                    <a:pt x="0" y="348"/>
                    <a:pt x="0" y="195"/>
                    <a:pt x="1" y="42"/>
                  </a:cubicBezTo>
                  <a:cubicBezTo>
                    <a:pt x="1" y="12"/>
                    <a:pt x="12" y="0"/>
                    <a:pt x="43" y="0"/>
                  </a:cubicBezTo>
                  <a:cubicBezTo>
                    <a:pt x="195" y="0"/>
                    <a:pt x="347" y="0"/>
                    <a:pt x="499" y="0"/>
                  </a:cubicBezTo>
                  <a:cubicBezTo>
                    <a:pt x="530" y="0"/>
                    <a:pt x="541" y="11"/>
                    <a:pt x="541" y="43"/>
                  </a:cubicBezTo>
                  <a:cubicBezTo>
                    <a:pt x="541" y="195"/>
                    <a:pt x="541" y="347"/>
                    <a:pt x="541" y="499"/>
                  </a:cubicBezTo>
                  <a:cubicBezTo>
                    <a:pt x="541" y="532"/>
                    <a:pt x="532" y="541"/>
                    <a:pt x="498" y="541"/>
                  </a:cubicBezTo>
                  <a:cubicBezTo>
                    <a:pt x="423" y="541"/>
                    <a:pt x="347" y="541"/>
                    <a:pt x="272" y="541"/>
                  </a:cubicBezTo>
                  <a:close/>
                  <a:moveTo>
                    <a:pt x="478" y="478"/>
                  </a:moveTo>
                  <a:cubicBezTo>
                    <a:pt x="478" y="340"/>
                    <a:pt x="478" y="202"/>
                    <a:pt x="478" y="64"/>
                  </a:cubicBezTo>
                  <a:cubicBezTo>
                    <a:pt x="340" y="64"/>
                    <a:pt x="203" y="64"/>
                    <a:pt x="65" y="64"/>
                  </a:cubicBezTo>
                  <a:cubicBezTo>
                    <a:pt x="65" y="203"/>
                    <a:pt x="65" y="340"/>
                    <a:pt x="65" y="478"/>
                  </a:cubicBezTo>
                  <a:cubicBezTo>
                    <a:pt x="203" y="478"/>
                    <a:pt x="340" y="478"/>
                    <a:pt x="478" y="4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3">
              <a:extLst>
                <a:ext uri="{FF2B5EF4-FFF2-40B4-BE49-F238E27FC236}">
                  <a16:creationId xmlns:a16="http://schemas.microsoft.com/office/drawing/2014/main" id="{A2FDD3D3-A56D-C649-9DEE-54381326BB23}"/>
                </a:ext>
              </a:extLst>
            </p:cNvPr>
            <p:cNvSpPr>
              <a:spLocks noEditPoints="1"/>
            </p:cNvSpPr>
            <p:nvPr/>
          </p:nvSpPr>
          <p:spPr bwMode="auto">
            <a:xfrm>
              <a:off x="-4559301" y="2874963"/>
              <a:ext cx="1171575" cy="1165225"/>
            </a:xfrm>
            <a:custGeom>
              <a:avLst/>
              <a:gdLst>
                <a:gd name="T0" fmla="*/ 541 w 541"/>
                <a:gd name="T1" fmla="*/ 271 h 540"/>
                <a:gd name="T2" fmla="*/ 541 w 541"/>
                <a:gd name="T3" fmla="*/ 501 h 540"/>
                <a:gd name="T4" fmla="*/ 502 w 541"/>
                <a:gd name="T5" fmla="*/ 540 h 540"/>
                <a:gd name="T6" fmla="*/ 41 w 541"/>
                <a:gd name="T7" fmla="*/ 540 h 540"/>
                <a:gd name="T8" fmla="*/ 1 w 541"/>
                <a:gd name="T9" fmla="*/ 500 h 540"/>
                <a:gd name="T10" fmla="*/ 1 w 541"/>
                <a:gd name="T11" fmla="*/ 40 h 540"/>
                <a:gd name="T12" fmla="*/ 41 w 541"/>
                <a:gd name="T13" fmla="*/ 0 h 540"/>
                <a:gd name="T14" fmla="*/ 501 w 541"/>
                <a:gd name="T15" fmla="*/ 0 h 540"/>
                <a:gd name="T16" fmla="*/ 541 w 541"/>
                <a:gd name="T17" fmla="*/ 39 h 540"/>
                <a:gd name="T18" fmla="*/ 541 w 541"/>
                <a:gd name="T19" fmla="*/ 271 h 540"/>
                <a:gd name="T20" fmla="*/ 479 w 541"/>
                <a:gd name="T21" fmla="*/ 64 h 540"/>
                <a:gd name="T22" fmla="*/ 65 w 541"/>
                <a:gd name="T23" fmla="*/ 64 h 540"/>
                <a:gd name="T24" fmla="*/ 65 w 541"/>
                <a:gd name="T25" fmla="*/ 477 h 540"/>
                <a:gd name="T26" fmla="*/ 479 w 541"/>
                <a:gd name="T27" fmla="*/ 477 h 540"/>
                <a:gd name="T28" fmla="*/ 479 w 541"/>
                <a:gd name="T29" fmla="*/ 64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1" h="540">
                  <a:moveTo>
                    <a:pt x="541" y="271"/>
                  </a:moveTo>
                  <a:cubicBezTo>
                    <a:pt x="541" y="348"/>
                    <a:pt x="541" y="425"/>
                    <a:pt x="541" y="501"/>
                  </a:cubicBezTo>
                  <a:cubicBezTo>
                    <a:pt x="541" y="530"/>
                    <a:pt x="531" y="540"/>
                    <a:pt x="502" y="540"/>
                  </a:cubicBezTo>
                  <a:cubicBezTo>
                    <a:pt x="348" y="540"/>
                    <a:pt x="194" y="540"/>
                    <a:pt x="41" y="540"/>
                  </a:cubicBezTo>
                  <a:cubicBezTo>
                    <a:pt x="12" y="540"/>
                    <a:pt x="1" y="529"/>
                    <a:pt x="1" y="500"/>
                  </a:cubicBezTo>
                  <a:cubicBezTo>
                    <a:pt x="0" y="347"/>
                    <a:pt x="0" y="193"/>
                    <a:pt x="1" y="40"/>
                  </a:cubicBezTo>
                  <a:cubicBezTo>
                    <a:pt x="1" y="12"/>
                    <a:pt x="13" y="0"/>
                    <a:pt x="41" y="0"/>
                  </a:cubicBezTo>
                  <a:cubicBezTo>
                    <a:pt x="194" y="0"/>
                    <a:pt x="348" y="0"/>
                    <a:pt x="501" y="0"/>
                  </a:cubicBezTo>
                  <a:cubicBezTo>
                    <a:pt x="530" y="0"/>
                    <a:pt x="541" y="10"/>
                    <a:pt x="541" y="39"/>
                  </a:cubicBezTo>
                  <a:cubicBezTo>
                    <a:pt x="541" y="117"/>
                    <a:pt x="541" y="194"/>
                    <a:pt x="541" y="271"/>
                  </a:cubicBezTo>
                  <a:close/>
                  <a:moveTo>
                    <a:pt x="479" y="64"/>
                  </a:moveTo>
                  <a:cubicBezTo>
                    <a:pt x="340" y="64"/>
                    <a:pt x="203" y="64"/>
                    <a:pt x="65" y="64"/>
                  </a:cubicBezTo>
                  <a:cubicBezTo>
                    <a:pt x="65" y="203"/>
                    <a:pt x="65" y="340"/>
                    <a:pt x="65" y="477"/>
                  </a:cubicBezTo>
                  <a:cubicBezTo>
                    <a:pt x="204" y="477"/>
                    <a:pt x="341" y="477"/>
                    <a:pt x="479" y="477"/>
                  </a:cubicBezTo>
                  <a:cubicBezTo>
                    <a:pt x="479" y="339"/>
                    <a:pt x="479" y="202"/>
                    <a:pt x="479"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4">
              <a:extLst>
                <a:ext uri="{FF2B5EF4-FFF2-40B4-BE49-F238E27FC236}">
                  <a16:creationId xmlns:a16="http://schemas.microsoft.com/office/drawing/2014/main" id="{7140700F-4372-7347-BD76-A7C82392E853}"/>
                </a:ext>
              </a:extLst>
            </p:cNvPr>
            <p:cNvSpPr>
              <a:spLocks noEditPoints="1"/>
            </p:cNvSpPr>
            <p:nvPr/>
          </p:nvSpPr>
          <p:spPr bwMode="auto">
            <a:xfrm>
              <a:off x="-3240088" y="1560513"/>
              <a:ext cx="1168400" cy="1166813"/>
            </a:xfrm>
            <a:custGeom>
              <a:avLst/>
              <a:gdLst>
                <a:gd name="T0" fmla="*/ 540 w 540"/>
                <a:gd name="T1" fmla="*/ 272 h 541"/>
                <a:gd name="T2" fmla="*/ 540 w 540"/>
                <a:gd name="T3" fmla="*/ 500 h 541"/>
                <a:gd name="T4" fmla="*/ 500 w 540"/>
                <a:gd name="T5" fmla="*/ 541 h 541"/>
                <a:gd name="T6" fmla="*/ 40 w 540"/>
                <a:gd name="T7" fmla="*/ 541 h 541"/>
                <a:gd name="T8" fmla="*/ 0 w 540"/>
                <a:gd name="T9" fmla="*/ 501 h 541"/>
                <a:gd name="T10" fmla="*/ 0 w 540"/>
                <a:gd name="T11" fmla="*/ 41 h 541"/>
                <a:gd name="T12" fmla="*/ 40 w 540"/>
                <a:gd name="T13" fmla="*/ 0 h 541"/>
                <a:gd name="T14" fmla="*/ 499 w 540"/>
                <a:gd name="T15" fmla="*/ 0 h 541"/>
                <a:gd name="T16" fmla="*/ 540 w 540"/>
                <a:gd name="T17" fmla="*/ 42 h 541"/>
                <a:gd name="T18" fmla="*/ 540 w 540"/>
                <a:gd name="T19" fmla="*/ 272 h 541"/>
                <a:gd name="T20" fmla="*/ 478 w 540"/>
                <a:gd name="T21" fmla="*/ 65 h 541"/>
                <a:gd name="T22" fmla="*/ 64 w 540"/>
                <a:gd name="T23" fmla="*/ 65 h 541"/>
                <a:gd name="T24" fmla="*/ 64 w 540"/>
                <a:gd name="T25" fmla="*/ 478 h 541"/>
                <a:gd name="T26" fmla="*/ 478 w 540"/>
                <a:gd name="T27" fmla="*/ 478 h 541"/>
                <a:gd name="T28" fmla="*/ 478 w 540"/>
                <a:gd name="T29" fmla="*/ 65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0" h="541">
                  <a:moveTo>
                    <a:pt x="540" y="272"/>
                  </a:moveTo>
                  <a:cubicBezTo>
                    <a:pt x="540" y="348"/>
                    <a:pt x="540" y="424"/>
                    <a:pt x="540" y="500"/>
                  </a:cubicBezTo>
                  <a:cubicBezTo>
                    <a:pt x="540" y="531"/>
                    <a:pt x="530" y="541"/>
                    <a:pt x="500" y="541"/>
                  </a:cubicBezTo>
                  <a:cubicBezTo>
                    <a:pt x="346" y="541"/>
                    <a:pt x="193" y="541"/>
                    <a:pt x="40" y="541"/>
                  </a:cubicBezTo>
                  <a:cubicBezTo>
                    <a:pt x="10" y="541"/>
                    <a:pt x="0" y="530"/>
                    <a:pt x="0" y="501"/>
                  </a:cubicBezTo>
                  <a:cubicBezTo>
                    <a:pt x="0" y="348"/>
                    <a:pt x="0" y="194"/>
                    <a:pt x="0" y="41"/>
                  </a:cubicBezTo>
                  <a:cubicBezTo>
                    <a:pt x="0" y="13"/>
                    <a:pt x="12" y="0"/>
                    <a:pt x="40" y="0"/>
                  </a:cubicBezTo>
                  <a:cubicBezTo>
                    <a:pt x="193" y="0"/>
                    <a:pt x="346" y="0"/>
                    <a:pt x="499" y="0"/>
                  </a:cubicBezTo>
                  <a:cubicBezTo>
                    <a:pt x="529" y="0"/>
                    <a:pt x="540" y="12"/>
                    <a:pt x="540" y="42"/>
                  </a:cubicBezTo>
                  <a:cubicBezTo>
                    <a:pt x="540" y="119"/>
                    <a:pt x="540" y="195"/>
                    <a:pt x="540" y="272"/>
                  </a:cubicBezTo>
                  <a:close/>
                  <a:moveTo>
                    <a:pt x="478" y="65"/>
                  </a:moveTo>
                  <a:cubicBezTo>
                    <a:pt x="339" y="65"/>
                    <a:pt x="202" y="65"/>
                    <a:pt x="64" y="65"/>
                  </a:cubicBezTo>
                  <a:cubicBezTo>
                    <a:pt x="64" y="204"/>
                    <a:pt x="64" y="341"/>
                    <a:pt x="64" y="478"/>
                  </a:cubicBezTo>
                  <a:cubicBezTo>
                    <a:pt x="203" y="478"/>
                    <a:pt x="340" y="478"/>
                    <a:pt x="478" y="478"/>
                  </a:cubicBezTo>
                  <a:cubicBezTo>
                    <a:pt x="478" y="340"/>
                    <a:pt x="478" y="203"/>
                    <a:pt x="47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9">
              <a:extLst>
                <a:ext uri="{FF2B5EF4-FFF2-40B4-BE49-F238E27FC236}">
                  <a16:creationId xmlns:a16="http://schemas.microsoft.com/office/drawing/2014/main" id="{A739DDBE-42EF-F743-98F3-A5DD1C2196EE}"/>
                </a:ext>
              </a:extLst>
            </p:cNvPr>
            <p:cNvSpPr>
              <a:spLocks noEditPoints="1"/>
            </p:cNvSpPr>
            <p:nvPr/>
          </p:nvSpPr>
          <p:spPr bwMode="auto">
            <a:xfrm>
              <a:off x="-4559301" y="4187825"/>
              <a:ext cx="1171575" cy="1165225"/>
            </a:xfrm>
            <a:custGeom>
              <a:avLst/>
              <a:gdLst>
                <a:gd name="T0" fmla="*/ 541 w 541"/>
                <a:gd name="T1" fmla="*/ 271 h 540"/>
                <a:gd name="T2" fmla="*/ 541 w 541"/>
                <a:gd name="T3" fmla="*/ 501 h 540"/>
                <a:gd name="T4" fmla="*/ 501 w 541"/>
                <a:gd name="T5" fmla="*/ 540 h 540"/>
                <a:gd name="T6" fmla="*/ 41 w 541"/>
                <a:gd name="T7" fmla="*/ 540 h 540"/>
                <a:gd name="T8" fmla="*/ 1 w 541"/>
                <a:gd name="T9" fmla="*/ 499 h 540"/>
                <a:gd name="T10" fmla="*/ 1 w 541"/>
                <a:gd name="T11" fmla="*/ 41 h 540"/>
                <a:gd name="T12" fmla="*/ 42 w 541"/>
                <a:gd name="T13" fmla="*/ 0 h 540"/>
                <a:gd name="T14" fmla="*/ 500 w 541"/>
                <a:gd name="T15" fmla="*/ 0 h 540"/>
                <a:gd name="T16" fmla="*/ 541 w 541"/>
                <a:gd name="T17" fmla="*/ 41 h 540"/>
                <a:gd name="T18" fmla="*/ 541 w 541"/>
                <a:gd name="T19" fmla="*/ 271 h 540"/>
                <a:gd name="T20" fmla="*/ 64 w 541"/>
                <a:gd name="T21" fmla="*/ 440 h 540"/>
                <a:gd name="T22" fmla="*/ 434 w 541"/>
                <a:gd name="T23" fmla="*/ 63 h 540"/>
                <a:gd name="T24" fmla="*/ 373 w 541"/>
                <a:gd name="T25" fmla="*/ 63 h 540"/>
                <a:gd name="T26" fmla="*/ 360 w 541"/>
                <a:gd name="T27" fmla="*/ 69 h 540"/>
                <a:gd name="T28" fmla="*/ 71 w 541"/>
                <a:gd name="T29" fmla="*/ 363 h 540"/>
                <a:gd name="T30" fmla="*/ 64 w 541"/>
                <a:gd name="T31" fmla="*/ 376 h 540"/>
                <a:gd name="T32" fmla="*/ 64 w 541"/>
                <a:gd name="T33" fmla="*/ 440 h 540"/>
                <a:gd name="T34" fmla="*/ 120 w 541"/>
                <a:gd name="T35" fmla="*/ 472 h 540"/>
                <a:gd name="T36" fmla="*/ 121 w 541"/>
                <a:gd name="T37" fmla="*/ 478 h 540"/>
                <a:gd name="T38" fmla="*/ 148 w 541"/>
                <a:gd name="T39" fmla="*/ 478 h 540"/>
                <a:gd name="T40" fmla="*/ 209 w 541"/>
                <a:gd name="T41" fmla="*/ 453 h 540"/>
                <a:gd name="T42" fmla="*/ 457 w 541"/>
                <a:gd name="T43" fmla="*/ 201 h 540"/>
                <a:gd name="T44" fmla="*/ 480 w 541"/>
                <a:gd name="T45" fmla="*/ 106 h 540"/>
                <a:gd name="T46" fmla="*/ 120 w 541"/>
                <a:gd name="T47" fmla="*/ 472 h 540"/>
                <a:gd name="T48" fmla="*/ 64 w 541"/>
                <a:gd name="T49" fmla="*/ 282 h 540"/>
                <a:gd name="T50" fmla="*/ 278 w 541"/>
                <a:gd name="T51" fmla="*/ 63 h 540"/>
                <a:gd name="T52" fmla="*/ 235 w 541"/>
                <a:gd name="T53" fmla="*/ 63 h 540"/>
                <a:gd name="T54" fmla="*/ 193 w 541"/>
                <a:gd name="T55" fmla="*/ 79 h 540"/>
                <a:gd name="T56" fmla="*/ 72 w 541"/>
                <a:gd name="T57" fmla="*/ 203 h 540"/>
                <a:gd name="T58" fmla="*/ 64 w 541"/>
                <a:gd name="T59" fmla="*/ 220 h 540"/>
                <a:gd name="T60" fmla="*/ 64 w 541"/>
                <a:gd name="T61" fmla="*/ 282 h 540"/>
                <a:gd name="T62" fmla="*/ 478 w 541"/>
                <a:gd name="T63" fmla="*/ 273 h 540"/>
                <a:gd name="T64" fmla="*/ 473 w 541"/>
                <a:gd name="T65" fmla="*/ 271 h 540"/>
                <a:gd name="T66" fmla="*/ 271 w 541"/>
                <a:gd name="T67" fmla="*/ 478 h 540"/>
                <a:gd name="T68" fmla="*/ 320 w 541"/>
                <a:gd name="T69" fmla="*/ 478 h 540"/>
                <a:gd name="T70" fmla="*/ 354 w 541"/>
                <a:gd name="T71" fmla="*/ 464 h 540"/>
                <a:gd name="T72" fmla="*/ 466 w 541"/>
                <a:gd name="T73" fmla="*/ 349 h 540"/>
                <a:gd name="T74" fmla="*/ 478 w 541"/>
                <a:gd name="T75" fmla="*/ 327 h 540"/>
                <a:gd name="T76" fmla="*/ 478 w 541"/>
                <a:gd name="T77" fmla="*/ 273 h 540"/>
                <a:gd name="T78" fmla="*/ 120 w 541"/>
                <a:gd name="T79" fmla="*/ 64 h 540"/>
                <a:gd name="T80" fmla="*/ 65 w 541"/>
                <a:gd name="T81" fmla="*/ 64 h 540"/>
                <a:gd name="T82" fmla="*/ 65 w 541"/>
                <a:gd name="T83" fmla="*/ 114 h 540"/>
                <a:gd name="T84" fmla="*/ 120 w 541"/>
                <a:gd name="T85" fmla="*/ 64 h 540"/>
                <a:gd name="T86" fmla="*/ 479 w 541"/>
                <a:gd name="T87" fmla="*/ 433 h 540"/>
                <a:gd name="T88" fmla="*/ 431 w 541"/>
                <a:gd name="T89" fmla="*/ 476 h 540"/>
                <a:gd name="T90" fmla="*/ 479 w 541"/>
                <a:gd name="T91" fmla="*/ 476 h 540"/>
                <a:gd name="T92" fmla="*/ 479 w 541"/>
                <a:gd name="T93" fmla="*/ 43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1" h="540">
                  <a:moveTo>
                    <a:pt x="541" y="271"/>
                  </a:moveTo>
                  <a:cubicBezTo>
                    <a:pt x="541" y="347"/>
                    <a:pt x="541" y="424"/>
                    <a:pt x="541" y="501"/>
                  </a:cubicBezTo>
                  <a:cubicBezTo>
                    <a:pt x="541" y="530"/>
                    <a:pt x="531" y="540"/>
                    <a:pt x="501" y="540"/>
                  </a:cubicBezTo>
                  <a:cubicBezTo>
                    <a:pt x="348" y="540"/>
                    <a:pt x="195" y="540"/>
                    <a:pt x="41" y="540"/>
                  </a:cubicBezTo>
                  <a:cubicBezTo>
                    <a:pt x="12" y="540"/>
                    <a:pt x="1" y="529"/>
                    <a:pt x="1" y="499"/>
                  </a:cubicBezTo>
                  <a:cubicBezTo>
                    <a:pt x="0" y="346"/>
                    <a:pt x="0" y="193"/>
                    <a:pt x="1" y="41"/>
                  </a:cubicBezTo>
                  <a:cubicBezTo>
                    <a:pt x="1" y="11"/>
                    <a:pt x="12" y="0"/>
                    <a:pt x="42" y="0"/>
                  </a:cubicBezTo>
                  <a:cubicBezTo>
                    <a:pt x="195" y="0"/>
                    <a:pt x="347" y="0"/>
                    <a:pt x="500" y="0"/>
                  </a:cubicBezTo>
                  <a:cubicBezTo>
                    <a:pt x="531" y="0"/>
                    <a:pt x="541" y="10"/>
                    <a:pt x="541" y="41"/>
                  </a:cubicBezTo>
                  <a:cubicBezTo>
                    <a:pt x="541" y="117"/>
                    <a:pt x="541" y="194"/>
                    <a:pt x="541" y="271"/>
                  </a:cubicBezTo>
                  <a:close/>
                  <a:moveTo>
                    <a:pt x="64" y="440"/>
                  </a:moveTo>
                  <a:cubicBezTo>
                    <a:pt x="188" y="313"/>
                    <a:pt x="310" y="190"/>
                    <a:pt x="434" y="63"/>
                  </a:cubicBezTo>
                  <a:cubicBezTo>
                    <a:pt x="410" y="63"/>
                    <a:pt x="392" y="63"/>
                    <a:pt x="373" y="63"/>
                  </a:cubicBezTo>
                  <a:cubicBezTo>
                    <a:pt x="369" y="63"/>
                    <a:pt x="363" y="66"/>
                    <a:pt x="360" y="69"/>
                  </a:cubicBezTo>
                  <a:cubicBezTo>
                    <a:pt x="263" y="167"/>
                    <a:pt x="167" y="265"/>
                    <a:pt x="71" y="363"/>
                  </a:cubicBezTo>
                  <a:cubicBezTo>
                    <a:pt x="68" y="366"/>
                    <a:pt x="64" y="372"/>
                    <a:pt x="64" y="376"/>
                  </a:cubicBezTo>
                  <a:cubicBezTo>
                    <a:pt x="63" y="396"/>
                    <a:pt x="64" y="416"/>
                    <a:pt x="64" y="440"/>
                  </a:cubicBezTo>
                  <a:close/>
                  <a:moveTo>
                    <a:pt x="120" y="472"/>
                  </a:moveTo>
                  <a:cubicBezTo>
                    <a:pt x="120" y="474"/>
                    <a:pt x="121" y="476"/>
                    <a:pt x="121" y="478"/>
                  </a:cubicBezTo>
                  <a:cubicBezTo>
                    <a:pt x="130" y="478"/>
                    <a:pt x="139" y="477"/>
                    <a:pt x="148" y="478"/>
                  </a:cubicBezTo>
                  <a:cubicBezTo>
                    <a:pt x="174" y="481"/>
                    <a:pt x="191" y="472"/>
                    <a:pt x="209" y="453"/>
                  </a:cubicBezTo>
                  <a:cubicBezTo>
                    <a:pt x="290" y="368"/>
                    <a:pt x="372" y="283"/>
                    <a:pt x="457" y="201"/>
                  </a:cubicBezTo>
                  <a:cubicBezTo>
                    <a:pt x="487" y="173"/>
                    <a:pt x="477" y="143"/>
                    <a:pt x="480" y="106"/>
                  </a:cubicBezTo>
                  <a:cubicBezTo>
                    <a:pt x="357" y="231"/>
                    <a:pt x="238" y="352"/>
                    <a:pt x="120" y="472"/>
                  </a:cubicBezTo>
                  <a:close/>
                  <a:moveTo>
                    <a:pt x="64" y="282"/>
                  </a:moveTo>
                  <a:cubicBezTo>
                    <a:pt x="137" y="207"/>
                    <a:pt x="206" y="137"/>
                    <a:pt x="278" y="63"/>
                  </a:cubicBezTo>
                  <a:cubicBezTo>
                    <a:pt x="260" y="63"/>
                    <a:pt x="247" y="64"/>
                    <a:pt x="235" y="63"/>
                  </a:cubicBezTo>
                  <a:cubicBezTo>
                    <a:pt x="218" y="61"/>
                    <a:pt x="205" y="67"/>
                    <a:pt x="193" y="79"/>
                  </a:cubicBezTo>
                  <a:cubicBezTo>
                    <a:pt x="153" y="121"/>
                    <a:pt x="112" y="162"/>
                    <a:pt x="72" y="203"/>
                  </a:cubicBezTo>
                  <a:cubicBezTo>
                    <a:pt x="68" y="208"/>
                    <a:pt x="64" y="214"/>
                    <a:pt x="64" y="220"/>
                  </a:cubicBezTo>
                  <a:cubicBezTo>
                    <a:pt x="63" y="239"/>
                    <a:pt x="64" y="257"/>
                    <a:pt x="64" y="282"/>
                  </a:cubicBezTo>
                  <a:close/>
                  <a:moveTo>
                    <a:pt x="478" y="273"/>
                  </a:moveTo>
                  <a:cubicBezTo>
                    <a:pt x="476" y="273"/>
                    <a:pt x="475" y="272"/>
                    <a:pt x="473" y="271"/>
                  </a:cubicBezTo>
                  <a:cubicBezTo>
                    <a:pt x="407" y="339"/>
                    <a:pt x="341" y="406"/>
                    <a:pt x="271" y="478"/>
                  </a:cubicBezTo>
                  <a:cubicBezTo>
                    <a:pt x="292" y="478"/>
                    <a:pt x="306" y="477"/>
                    <a:pt x="320" y="478"/>
                  </a:cubicBezTo>
                  <a:cubicBezTo>
                    <a:pt x="334" y="479"/>
                    <a:pt x="344" y="474"/>
                    <a:pt x="354" y="464"/>
                  </a:cubicBezTo>
                  <a:cubicBezTo>
                    <a:pt x="391" y="425"/>
                    <a:pt x="429" y="387"/>
                    <a:pt x="466" y="349"/>
                  </a:cubicBezTo>
                  <a:cubicBezTo>
                    <a:pt x="471" y="343"/>
                    <a:pt x="477" y="335"/>
                    <a:pt x="478" y="327"/>
                  </a:cubicBezTo>
                  <a:cubicBezTo>
                    <a:pt x="479" y="309"/>
                    <a:pt x="478" y="291"/>
                    <a:pt x="478" y="273"/>
                  </a:cubicBezTo>
                  <a:close/>
                  <a:moveTo>
                    <a:pt x="120" y="64"/>
                  </a:moveTo>
                  <a:cubicBezTo>
                    <a:pt x="99" y="64"/>
                    <a:pt x="82" y="64"/>
                    <a:pt x="65" y="64"/>
                  </a:cubicBezTo>
                  <a:cubicBezTo>
                    <a:pt x="65" y="83"/>
                    <a:pt x="65" y="100"/>
                    <a:pt x="65" y="114"/>
                  </a:cubicBezTo>
                  <a:cubicBezTo>
                    <a:pt x="82" y="99"/>
                    <a:pt x="100" y="82"/>
                    <a:pt x="120" y="64"/>
                  </a:cubicBezTo>
                  <a:close/>
                  <a:moveTo>
                    <a:pt x="479" y="433"/>
                  </a:moveTo>
                  <a:cubicBezTo>
                    <a:pt x="463" y="446"/>
                    <a:pt x="448" y="460"/>
                    <a:pt x="431" y="476"/>
                  </a:cubicBezTo>
                  <a:cubicBezTo>
                    <a:pt x="449" y="476"/>
                    <a:pt x="463" y="476"/>
                    <a:pt x="479" y="476"/>
                  </a:cubicBezTo>
                  <a:cubicBezTo>
                    <a:pt x="479" y="460"/>
                    <a:pt x="479" y="445"/>
                    <a:pt x="479"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0">
              <a:extLst>
                <a:ext uri="{FF2B5EF4-FFF2-40B4-BE49-F238E27FC236}">
                  <a16:creationId xmlns:a16="http://schemas.microsoft.com/office/drawing/2014/main" id="{F60EE9F3-147B-CD4F-8A7F-479105EAF213}"/>
                </a:ext>
              </a:extLst>
            </p:cNvPr>
            <p:cNvSpPr>
              <a:spLocks noEditPoints="1"/>
            </p:cNvSpPr>
            <p:nvPr/>
          </p:nvSpPr>
          <p:spPr bwMode="auto">
            <a:xfrm>
              <a:off x="-1924051" y="1560513"/>
              <a:ext cx="1168400" cy="1166813"/>
            </a:xfrm>
            <a:custGeom>
              <a:avLst/>
              <a:gdLst>
                <a:gd name="T0" fmla="*/ 269 w 540"/>
                <a:gd name="T1" fmla="*/ 541 h 541"/>
                <a:gd name="T2" fmla="*/ 39 w 540"/>
                <a:gd name="T3" fmla="*/ 541 h 541"/>
                <a:gd name="T4" fmla="*/ 0 w 540"/>
                <a:gd name="T5" fmla="*/ 501 h 541"/>
                <a:gd name="T6" fmla="*/ 0 w 540"/>
                <a:gd name="T7" fmla="*/ 41 h 541"/>
                <a:gd name="T8" fmla="*/ 40 w 540"/>
                <a:gd name="T9" fmla="*/ 0 h 541"/>
                <a:gd name="T10" fmla="*/ 500 w 540"/>
                <a:gd name="T11" fmla="*/ 0 h 541"/>
                <a:gd name="T12" fmla="*/ 540 w 540"/>
                <a:gd name="T13" fmla="*/ 40 h 541"/>
                <a:gd name="T14" fmla="*/ 540 w 540"/>
                <a:gd name="T15" fmla="*/ 502 h 541"/>
                <a:gd name="T16" fmla="*/ 501 w 540"/>
                <a:gd name="T17" fmla="*/ 541 h 541"/>
                <a:gd name="T18" fmla="*/ 269 w 540"/>
                <a:gd name="T19" fmla="*/ 541 h 541"/>
                <a:gd name="T20" fmla="*/ 433 w 540"/>
                <a:gd name="T21" fmla="*/ 63 h 541"/>
                <a:gd name="T22" fmla="*/ 370 w 540"/>
                <a:gd name="T23" fmla="*/ 64 h 541"/>
                <a:gd name="T24" fmla="*/ 357 w 540"/>
                <a:gd name="T25" fmla="*/ 70 h 541"/>
                <a:gd name="T26" fmla="*/ 73 w 540"/>
                <a:gd name="T27" fmla="*/ 360 h 541"/>
                <a:gd name="T28" fmla="*/ 64 w 540"/>
                <a:gd name="T29" fmla="*/ 374 h 541"/>
                <a:gd name="T30" fmla="*/ 63 w 540"/>
                <a:gd name="T31" fmla="*/ 440 h 541"/>
                <a:gd name="T32" fmla="*/ 433 w 540"/>
                <a:gd name="T33" fmla="*/ 63 h 541"/>
                <a:gd name="T34" fmla="*/ 112 w 540"/>
                <a:gd name="T35" fmla="*/ 478 h 541"/>
                <a:gd name="T36" fmla="*/ 159 w 540"/>
                <a:gd name="T37" fmla="*/ 478 h 541"/>
                <a:gd name="T38" fmla="*/ 199 w 540"/>
                <a:gd name="T39" fmla="*/ 462 h 541"/>
                <a:gd name="T40" fmla="*/ 318 w 540"/>
                <a:gd name="T41" fmla="*/ 340 h 541"/>
                <a:gd name="T42" fmla="*/ 460 w 540"/>
                <a:gd name="T43" fmla="*/ 197 h 541"/>
                <a:gd name="T44" fmla="*/ 477 w 540"/>
                <a:gd name="T45" fmla="*/ 108 h 541"/>
                <a:gd name="T46" fmla="*/ 112 w 540"/>
                <a:gd name="T47" fmla="*/ 478 h 541"/>
                <a:gd name="T48" fmla="*/ 273 w 540"/>
                <a:gd name="T49" fmla="*/ 69 h 541"/>
                <a:gd name="T50" fmla="*/ 271 w 540"/>
                <a:gd name="T51" fmla="*/ 64 h 541"/>
                <a:gd name="T52" fmla="*/ 229 w 540"/>
                <a:gd name="T53" fmla="*/ 64 h 541"/>
                <a:gd name="T54" fmla="*/ 193 w 540"/>
                <a:gd name="T55" fmla="*/ 79 h 541"/>
                <a:gd name="T56" fmla="*/ 86 w 540"/>
                <a:gd name="T57" fmla="*/ 186 h 541"/>
                <a:gd name="T58" fmla="*/ 63 w 540"/>
                <a:gd name="T59" fmla="*/ 270 h 541"/>
                <a:gd name="T60" fmla="*/ 273 w 540"/>
                <a:gd name="T61" fmla="*/ 69 h 541"/>
                <a:gd name="T62" fmla="*/ 477 w 540"/>
                <a:gd name="T63" fmla="*/ 274 h 541"/>
                <a:gd name="T64" fmla="*/ 473 w 540"/>
                <a:gd name="T65" fmla="*/ 272 h 541"/>
                <a:gd name="T66" fmla="*/ 268 w 540"/>
                <a:gd name="T67" fmla="*/ 480 h 541"/>
                <a:gd name="T68" fmla="*/ 330 w 540"/>
                <a:gd name="T69" fmla="*/ 479 h 541"/>
                <a:gd name="T70" fmla="*/ 346 w 540"/>
                <a:gd name="T71" fmla="*/ 472 h 541"/>
                <a:gd name="T72" fmla="*/ 468 w 540"/>
                <a:gd name="T73" fmla="*/ 346 h 541"/>
                <a:gd name="T74" fmla="*/ 477 w 540"/>
                <a:gd name="T75" fmla="*/ 331 h 541"/>
                <a:gd name="T76" fmla="*/ 477 w 540"/>
                <a:gd name="T77" fmla="*/ 274 h 541"/>
                <a:gd name="T78" fmla="*/ 64 w 540"/>
                <a:gd name="T79" fmla="*/ 114 h 541"/>
                <a:gd name="T80" fmla="*/ 118 w 540"/>
                <a:gd name="T81" fmla="*/ 65 h 541"/>
                <a:gd name="T82" fmla="*/ 64 w 540"/>
                <a:gd name="T83" fmla="*/ 65 h 541"/>
                <a:gd name="T84" fmla="*/ 64 w 540"/>
                <a:gd name="T85" fmla="*/ 114 h 541"/>
                <a:gd name="T86" fmla="*/ 477 w 540"/>
                <a:gd name="T87" fmla="*/ 426 h 541"/>
                <a:gd name="T88" fmla="*/ 426 w 540"/>
                <a:gd name="T89" fmla="*/ 480 h 541"/>
                <a:gd name="T90" fmla="*/ 465 w 540"/>
                <a:gd name="T91" fmla="*/ 479 h 541"/>
                <a:gd name="T92" fmla="*/ 477 w 540"/>
                <a:gd name="T93" fmla="*/ 470 h 541"/>
                <a:gd name="T94" fmla="*/ 477 w 540"/>
                <a:gd name="T95" fmla="*/ 426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0" h="541">
                  <a:moveTo>
                    <a:pt x="269" y="541"/>
                  </a:moveTo>
                  <a:cubicBezTo>
                    <a:pt x="193" y="541"/>
                    <a:pt x="116" y="541"/>
                    <a:pt x="39" y="541"/>
                  </a:cubicBezTo>
                  <a:cubicBezTo>
                    <a:pt x="10" y="540"/>
                    <a:pt x="0" y="530"/>
                    <a:pt x="0" y="501"/>
                  </a:cubicBezTo>
                  <a:cubicBezTo>
                    <a:pt x="0" y="347"/>
                    <a:pt x="0" y="194"/>
                    <a:pt x="0" y="41"/>
                  </a:cubicBezTo>
                  <a:cubicBezTo>
                    <a:pt x="0" y="13"/>
                    <a:pt x="12" y="0"/>
                    <a:pt x="40" y="0"/>
                  </a:cubicBezTo>
                  <a:cubicBezTo>
                    <a:pt x="193" y="0"/>
                    <a:pt x="346" y="0"/>
                    <a:pt x="500" y="0"/>
                  </a:cubicBezTo>
                  <a:cubicBezTo>
                    <a:pt x="529" y="0"/>
                    <a:pt x="540" y="12"/>
                    <a:pt x="540" y="40"/>
                  </a:cubicBezTo>
                  <a:cubicBezTo>
                    <a:pt x="540" y="194"/>
                    <a:pt x="540" y="348"/>
                    <a:pt x="540" y="502"/>
                  </a:cubicBezTo>
                  <a:cubicBezTo>
                    <a:pt x="540" y="531"/>
                    <a:pt x="530" y="540"/>
                    <a:pt x="501" y="541"/>
                  </a:cubicBezTo>
                  <a:cubicBezTo>
                    <a:pt x="424" y="541"/>
                    <a:pt x="346" y="541"/>
                    <a:pt x="269" y="541"/>
                  </a:cubicBezTo>
                  <a:close/>
                  <a:moveTo>
                    <a:pt x="433" y="63"/>
                  </a:moveTo>
                  <a:cubicBezTo>
                    <a:pt x="409" y="63"/>
                    <a:pt x="389" y="63"/>
                    <a:pt x="370" y="64"/>
                  </a:cubicBezTo>
                  <a:cubicBezTo>
                    <a:pt x="366" y="64"/>
                    <a:pt x="361" y="67"/>
                    <a:pt x="357" y="70"/>
                  </a:cubicBezTo>
                  <a:cubicBezTo>
                    <a:pt x="263" y="167"/>
                    <a:pt x="168" y="263"/>
                    <a:pt x="73" y="360"/>
                  </a:cubicBezTo>
                  <a:cubicBezTo>
                    <a:pt x="69" y="364"/>
                    <a:pt x="64" y="369"/>
                    <a:pt x="64" y="374"/>
                  </a:cubicBezTo>
                  <a:cubicBezTo>
                    <a:pt x="62" y="394"/>
                    <a:pt x="63" y="414"/>
                    <a:pt x="63" y="440"/>
                  </a:cubicBezTo>
                  <a:cubicBezTo>
                    <a:pt x="188" y="313"/>
                    <a:pt x="309" y="190"/>
                    <a:pt x="433" y="63"/>
                  </a:cubicBezTo>
                  <a:close/>
                  <a:moveTo>
                    <a:pt x="112" y="478"/>
                  </a:moveTo>
                  <a:cubicBezTo>
                    <a:pt x="132" y="478"/>
                    <a:pt x="145" y="477"/>
                    <a:pt x="159" y="478"/>
                  </a:cubicBezTo>
                  <a:cubicBezTo>
                    <a:pt x="176" y="480"/>
                    <a:pt x="188" y="474"/>
                    <a:pt x="199" y="462"/>
                  </a:cubicBezTo>
                  <a:cubicBezTo>
                    <a:pt x="238" y="421"/>
                    <a:pt x="278" y="380"/>
                    <a:pt x="318" y="340"/>
                  </a:cubicBezTo>
                  <a:cubicBezTo>
                    <a:pt x="365" y="292"/>
                    <a:pt x="411" y="243"/>
                    <a:pt x="460" y="197"/>
                  </a:cubicBezTo>
                  <a:cubicBezTo>
                    <a:pt x="487" y="171"/>
                    <a:pt x="475" y="142"/>
                    <a:pt x="477" y="108"/>
                  </a:cubicBezTo>
                  <a:cubicBezTo>
                    <a:pt x="354" y="233"/>
                    <a:pt x="236" y="353"/>
                    <a:pt x="112" y="478"/>
                  </a:cubicBezTo>
                  <a:close/>
                  <a:moveTo>
                    <a:pt x="273" y="69"/>
                  </a:moveTo>
                  <a:cubicBezTo>
                    <a:pt x="273" y="68"/>
                    <a:pt x="272" y="66"/>
                    <a:pt x="271" y="64"/>
                  </a:cubicBezTo>
                  <a:cubicBezTo>
                    <a:pt x="257" y="64"/>
                    <a:pt x="243" y="65"/>
                    <a:pt x="229" y="64"/>
                  </a:cubicBezTo>
                  <a:cubicBezTo>
                    <a:pt x="214" y="63"/>
                    <a:pt x="203" y="68"/>
                    <a:pt x="193" y="79"/>
                  </a:cubicBezTo>
                  <a:cubicBezTo>
                    <a:pt x="158" y="116"/>
                    <a:pt x="124" y="154"/>
                    <a:pt x="86" y="186"/>
                  </a:cubicBezTo>
                  <a:cubicBezTo>
                    <a:pt x="54" y="214"/>
                    <a:pt x="66" y="245"/>
                    <a:pt x="63" y="270"/>
                  </a:cubicBezTo>
                  <a:cubicBezTo>
                    <a:pt x="132" y="204"/>
                    <a:pt x="203" y="137"/>
                    <a:pt x="273" y="69"/>
                  </a:cubicBezTo>
                  <a:close/>
                  <a:moveTo>
                    <a:pt x="477" y="274"/>
                  </a:moveTo>
                  <a:cubicBezTo>
                    <a:pt x="476" y="273"/>
                    <a:pt x="474" y="272"/>
                    <a:pt x="473" y="272"/>
                  </a:cubicBezTo>
                  <a:cubicBezTo>
                    <a:pt x="406" y="340"/>
                    <a:pt x="339" y="408"/>
                    <a:pt x="268" y="480"/>
                  </a:cubicBezTo>
                  <a:cubicBezTo>
                    <a:pt x="293" y="480"/>
                    <a:pt x="312" y="480"/>
                    <a:pt x="330" y="479"/>
                  </a:cubicBezTo>
                  <a:cubicBezTo>
                    <a:pt x="336" y="479"/>
                    <a:pt x="342" y="476"/>
                    <a:pt x="346" y="472"/>
                  </a:cubicBezTo>
                  <a:cubicBezTo>
                    <a:pt x="387" y="430"/>
                    <a:pt x="428" y="388"/>
                    <a:pt x="468" y="346"/>
                  </a:cubicBezTo>
                  <a:cubicBezTo>
                    <a:pt x="472" y="342"/>
                    <a:pt x="477" y="336"/>
                    <a:pt x="477" y="331"/>
                  </a:cubicBezTo>
                  <a:cubicBezTo>
                    <a:pt x="478" y="312"/>
                    <a:pt x="477" y="293"/>
                    <a:pt x="477" y="274"/>
                  </a:cubicBezTo>
                  <a:close/>
                  <a:moveTo>
                    <a:pt x="64" y="114"/>
                  </a:moveTo>
                  <a:cubicBezTo>
                    <a:pt x="81" y="99"/>
                    <a:pt x="99" y="82"/>
                    <a:pt x="118" y="65"/>
                  </a:cubicBezTo>
                  <a:cubicBezTo>
                    <a:pt x="98" y="65"/>
                    <a:pt x="81" y="65"/>
                    <a:pt x="64" y="65"/>
                  </a:cubicBezTo>
                  <a:cubicBezTo>
                    <a:pt x="64" y="83"/>
                    <a:pt x="64" y="100"/>
                    <a:pt x="64" y="114"/>
                  </a:cubicBezTo>
                  <a:close/>
                  <a:moveTo>
                    <a:pt x="477" y="426"/>
                  </a:moveTo>
                  <a:cubicBezTo>
                    <a:pt x="458" y="446"/>
                    <a:pt x="444" y="461"/>
                    <a:pt x="426" y="480"/>
                  </a:cubicBezTo>
                  <a:cubicBezTo>
                    <a:pt x="443" y="480"/>
                    <a:pt x="454" y="480"/>
                    <a:pt x="465" y="479"/>
                  </a:cubicBezTo>
                  <a:cubicBezTo>
                    <a:pt x="469" y="479"/>
                    <a:pt x="476" y="474"/>
                    <a:pt x="477" y="470"/>
                  </a:cubicBezTo>
                  <a:cubicBezTo>
                    <a:pt x="478" y="457"/>
                    <a:pt x="477" y="445"/>
                    <a:pt x="477" y="4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1">
              <a:extLst>
                <a:ext uri="{FF2B5EF4-FFF2-40B4-BE49-F238E27FC236}">
                  <a16:creationId xmlns:a16="http://schemas.microsoft.com/office/drawing/2014/main" id="{228960A2-2F76-CC41-B038-D7B6E3C7C600}"/>
                </a:ext>
              </a:extLst>
            </p:cNvPr>
            <p:cNvSpPr>
              <a:spLocks noEditPoints="1"/>
            </p:cNvSpPr>
            <p:nvPr/>
          </p:nvSpPr>
          <p:spPr bwMode="auto">
            <a:xfrm>
              <a:off x="-3240088" y="2874963"/>
              <a:ext cx="1168400" cy="1165225"/>
            </a:xfrm>
            <a:custGeom>
              <a:avLst/>
              <a:gdLst>
                <a:gd name="T0" fmla="*/ 540 w 540"/>
                <a:gd name="T1" fmla="*/ 271 h 540"/>
                <a:gd name="T2" fmla="*/ 540 w 540"/>
                <a:gd name="T3" fmla="*/ 497 h 540"/>
                <a:gd name="T4" fmla="*/ 498 w 540"/>
                <a:gd name="T5" fmla="*/ 540 h 540"/>
                <a:gd name="T6" fmla="*/ 42 w 540"/>
                <a:gd name="T7" fmla="*/ 540 h 540"/>
                <a:gd name="T8" fmla="*/ 0 w 540"/>
                <a:gd name="T9" fmla="*/ 496 h 540"/>
                <a:gd name="T10" fmla="*/ 0 w 540"/>
                <a:gd name="T11" fmla="*/ 44 h 540"/>
                <a:gd name="T12" fmla="*/ 45 w 540"/>
                <a:gd name="T13" fmla="*/ 0 h 540"/>
                <a:gd name="T14" fmla="*/ 495 w 540"/>
                <a:gd name="T15" fmla="*/ 0 h 540"/>
                <a:gd name="T16" fmla="*/ 540 w 540"/>
                <a:gd name="T17" fmla="*/ 45 h 540"/>
                <a:gd name="T18" fmla="*/ 540 w 540"/>
                <a:gd name="T19" fmla="*/ 271 h 540"/>
                <a:gd name="T20" fmla="*/ 117 w 540"/>
                <a:gd name="T21" fmla="*/ 474 h 540"/>
                <a:gd name="T22" fmla="*/ 119 w 540"/>
                <a:gd name="T23" fmla="*/ 479 h 540"/>
                <a:gd name="T24" fmla="*/ 154 w 540"/>
                <a:gd name="T25" fmla="*/ 479 h 540"/>
                <a:gd name="T26" fmla="*/ 201 w 540"/>
                <a:gd name="T27" fmla="*/ 460 h 540"/>
                <a:gd name="T28" fmla="*/ 459 w 540"/>
                <a:gd name="T29" fmla="*/ 198 h 540"/>
                <a:gd name="T30" fmla="*/ 474 w 540"/>
                <a:gd name="T31" fmla="*/ 111 h 540"/>
                <a:gd name="T32" fmla="*/ 117 w 540"/>
                <a:gd name="T33" fmla="*/ 474 h 540"/>
                <a:gd name="T34" fmla="*/ 434 w 540"/>
                <a:gd name="T35" fmla="*/ 63 h 540"/>
                <a:gd name="T36" fmla="*/ 371 w 540"/>
                <a:gd name="T37" fmla="*/ 63 h 540"/>
                <a:gd name="T38" fmla="*/ 358 w 540"/>
                <a:gd name="T39" fmla="*/ 70 h 540"/>
                <a:gd name="T40" fmla="*/ 72 w 540"/>
                <a:gd name="T41" fmla="*/ 360 h 540"/>
                <a:gd name="T42" fmla="*/ 63 w 540"/>
                <a:gd name="T43" fmla="*/ 374 h 540"/>
                <a:gd name="T44" fmla="*/ 63 w 540"/>
                <a:gd name="T45" fmla="*/ 440 h 540"/>
                <a:gd name="T46" fmla="*/ 434 w 540"/>
                <a:gd name="T47" fmla="*/ 63 h 540"/>
                <a:gd name="T48" fmla="*/ 276 w 540"/>
                <a:gd name="T49" fmla="*/ 69 h 540"/>
                <a:gd name="T50" fmla="*/ 272 w 540"/>
                <a:gd name="T51" fmla="*/ 63 h 540"/>
                <a:gd name="T52" fmla="*/ 234 w 540"/>
                <a:gd name="T53" fmla="*/ 63 h 540"/>
                <a:gd name="T54" fmla="*/ 191 w 540"/>
                <a:gd name="T55" fmla="*/ 81 h 540"/>
                <a:gd name="T56" fmla="*/ 84 w 540"/>
                <a:gd name="T57" fmla="*/ 188 h 540"/>
                <a:gd name="T58" fmla="*/ 63 w 540"/>
                <a:gd name="T59" fmla="*/ 270 h 540"/>
                <a:gd name="T60" fmla="*/ 276 w 540"/>
                <a:gd name="T61" fmla="*/ 69 h 540"/>
                <a:gd name="T62" fmla="*/ 479 w 540"/>
                <a:gd name="T63" fmla="*/ 271 h 540"/>
                <a:gd name="T64" fmla="*/ 474 w 540"/>
                <a:gd name="T65" fmla="*/ 270 h 540"/>
                <a:gd name="T66" fmla="*/ 270 w 540"/>
                <a:gd name="T67" fmla="*/ 479 h 540"/>
                <a:gd name="T68" fmla="*/ 331 w 540"/>
                <a:gd name="T69" fmla="*/ 478 h 540"/>
                <a:gd name="T70" fmla="*/ 344 w 540"/>
                <a:gd name="T71" fmla="*/ 472 h 540"/>
                <a:gd name="T72" fmla="*/ 470 w 540"/>
                <a:gd name="T73" fmla="*/ 344 h 540"/>
                <a:gd name="T74" fmla="*/ 478 w 540"/>
                <a:gd name="T75" fmla="*/ 329 h 540"/>
                <a:gd name="T76" fmla="*/ 479 w 540"/>
                <a:gd name="T77" fmla="*/ 271 h 540"/>
                <a:gd name="T78" fmla="*/ 64 w 540"/>
                <a:gd name="T79" fmla="*/ 63 h 540"/>
                <a:gd name="T80" fmla="*/ 64 w 540"/>
                <a:gd name="T81" fmla="*/ 112 h 540"/>
                <a:gd name="T82" fmla="*/ 114 w 540"/>
                <a:gd name="T83" fmla="*/ 63 h 540"/>
                <a:gd name="T84" fmla="*/ 64 w 540"/>
                <a:gd name="T85" fmla="*/ 63 h 540"/>
                <a:gd name="T86" fmla="*/ 478 w 540"/>
                <a:gd name="T87" fmla="*/ 433 h 540"/>
                <a:gd name="T88" fmla="*/ 427 w 540"/>
                <a:gd name="T89" fmla="*/ 477 h 540"/>
                <a:gd name="T90" fmla="*/ 478 w 540"/>
                <a:gd name="T91" fmla="*/ 477 h 540"/>
                <a:gd name="T92" fmla="*/ 478 w 540"/>
                <a:gd name="T93" fmla="*/ 433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40" h="540">
                  <a:moveTo>
                    <a:pt x="540" y="271"/>
                  </a:moveTo>
                  <a:cubicBezTo>
                    <a:pt x="540" y="346"/>
                    <a:pt x="540" y="421"/>
                    <a:pt x="540" y="497"/>
                  </a:cubicBezTo>
                  <a:cubicBezTo>
                    <a:pt x="540" y="531"/>
                    <a:pt x="531" y="540"/>
                    <a:pt x="498" y="540"/>
                  </a:cubicBezTo>
                  <a:cubicBezTo>
                    <a:pt x="346" y="540"/>
                    <a:pt x="194" y="540"/>
                    <a:pt x="42" y="540"/>
                  </a:cubicBezTo>
                  <a:cubicBezTo>
                    <a:pt x="10" y="540"/>
                    <a:pt x="0" y="530"/>
                    <a:pt x="0" y="496"/>
                  </a:cubicBezTo>
                  <a:cubicBezTo>
                    <a:pt x="0" y="346"/>
                    <a:pt x="0" y="195"/>
                    <a:pt x="0" y="44"/>
                  </a:cubicBezTo>
                  <a:cubicBezTo>
                    <a:pt x="0" y="10"/>
                    <a:pt x="10" y="0"/>
                    <a:pt x="45" y="0"/>
                  </a:cubicBezTo>
                  <a:cubicBezTo>
                    <a:pt x="195" y="0"/>
                    <a:pt x="345" y="0"/>
                    <a:pt x="495" y="0"/>
                  </a:cubicBezTo>
                  <a:cubicBezTo>
                    <a:pt x="531" y="0"/>
                    <a:pt x="540" y="9"/>
                    <a:pt x="540" y="45"/>
                  </a:cubicBezTo>
                  <a:cubicBezTo>
                    <a:pt x="540" y="120"/>
                    <a:pt x="540" y="195"/>
                    <a:pt x="540" y="271"/>
                  </a:cubicBezTo>
                  <a:close/>
                  <a:moveTo>
                    <a:pt x="117" y="474"/>
                  </a:moveTo>
                  <a:cubicBezTo>
                    <a:pt x="117" y="476"/>
                    <a:pt x="118" y="477"/>
                    <a:pt x="119" y="479"/>
                  </a:cubicBezTo>
                  <a:cubicBezTo>
                    <a:pt x="130" y="479"/>
                    <a:pt x="142" y="478"/>
                    <a:pt x="154" y="479"/>
                  </a:cubicBezTo>
                  <a:cubicBezTo>
                    <a:pt x="173" y="482"/>
                    <a:pt x="187" y="474"/>
                    <a:pt x="201" y="460"/>
                  </a:cubicBezTo>
                  <a:cubicBezTo>
                    <a:pt x="286" y="372"/>
                    <a:pt x="371" y="283"/>
                    <a:pt x="459" y="198"/>
                  </a:cubicBezTo>
                  <a:cubicBezTo>
                    <a:pt x="488" y="170"/>
                    <a:pt x="475" y="141"/>
                    <a:pt x="474" y="111"/>
                  </a:cubicBezTo>
                  <a:cubicBezTo>
                    <a:pt x="355" y="232"/>
                    <a:pt x="236" y="353"/>
                    <a:pt x="117" y="474"/>
                  </a:cubicBezTo>
                  <a:close/>
                  <a:moveTo>
                    <a:pt x="434" y="63"/>
                  </a:moveTo>
                  <a:cubicBezTo>
                    <a:pt x="409" y="63"/>
                    <a:pt x="390" y="62"/>
                    <a:pt x="371" y="63"/>
                  </a:cubicBezTo>
                  <a:cubicBezTo>
                    <a:pt x="367" y="63"/>
                    <a:pt x="362" y="67"/>
                    <a:pt x="358" y="70"/>
                  </a:cubicBezTo>
                  <a:cubicBezTo>
                    <a:pt x="263" y="166"/>
                    <a:pt x="167" y="263"/>
                    <a:pt x="72" y="360"/>
                  </a:cubicBezTo>
                  <a:cubicBezTo>
                    <a:pt x="68" y="364"/>
                    <a:pt x="64" y="369"/>
                    <a:pt x="63" y="374"/>
                  </a:cubicBezTo>
                  <a:cubicBezTo>
                    <a:pt x="62" y="395"/>
                    <a:pt x="63" y="415"/>
                    <a:pt x="63" y="440"/>
                  </a:cubicBezTo>
                  <a:cubicBezTo>
                    <a:pt x="188" y="313"/>
                    <a:pt x="309" y="190"/>
                    <a:pt x="434" y="63"/>
                  </a:cubicBezTo>
                  <a:close/>
                  <a:moveTo>
                    <a:pt x="276" y="69"/>
                  </a:moveTo>
                  <a:cubicBezTo>
                    <a:pt x="274" y="67"/>
                    <a:pt x="273" y="65"/>
                    <a:pt x="272" y="63"/>
                  </a:cubicBezTo>
                  <a:cubicBezTo>
                    <a:pt x="259" y="63"/>
                    <a:pt x="247" y="64"/>
                    <a:pt x="234" y="63"/>
                  </a:cubicBezTo>
                  <a:cubicBezTo>
                    <a:pt x="216" y="61"/>
                    <a:pt x="203" y="67"/>
                    <a:pt x="191" y="81"/>
                  </a:cubicBezTo>
                  <a:cubicBezTo>
                    <a:pt x="156" y="117"/>
                    <a:pt x="122" y="155"/>
                    <a:pt x="84" y="188"/>
                  </a:cubicBezTo>
                  <a:cubicBezTo>
                    <a:pt x="53" y="215"/>
                    <a:pt x="66" y="246"/>
                    <a:pt x="63" y="270"/>
                  </a:cubicBezTo>
                  <a:cubicBezTo>
                    <a:pt x="133" y="204"/>
                    <a:pt x="204" y="136"/>
                    <a:pt x="276" y="69"/>
                  </a:cubicBezTo>
                  <a:close/>
                  <a:moveTo>
                    <a:pt x="479" y="271"/>
                  </a:moveTo>
                  <a:cubicBezTo>
                    <a:pt x="477" y="271"/>
                    <a:pt x="476" y="270"/>
                    <a:pt x="474" y="270"/>
                  </a:cubicBezTo>
                  <a:cubicBezTo>
                    <a:pt x="407" y="338"/>
                    <a:pt x="340" y="407"/>
                    <a:pt x="270" y="479"/>
                  </a:cubicBezTo>
                  <a:cubicBezTo>
                    <a:pt x="294" y="479"/>
                    <a:pt x="313" y="479"/>
                    <a:pt x="331" y="478"/>
                  </a:cubicBezTo>
                  <a:cubicBezTo>
                    <a:pt x="336" y="478"/>
                    <a:pt x="341" y="475"/>
                    <a:pt x="344" y="472"/>
                  </a:cubicBezTo>
                  <a:cubicBezTo>
                    <a:pt x="386" y="429"/>
                    <a:pt x="428" y="387"/>
                    <a:pt x="470" y="344"/>
                  </a:cubicBezTo>
                  <a:cubicBezTo>
                    <a:pt x="474" y="340"/>
                    <a:pt x="478" y="334"/>
                    <a:pt x="478" y="329"/>
                  </a:cubicBezTo>
                  <a:cubicBezTo>
                    <a:pt x="479" y="310"/>
                    <a:pt x="479" y="291"/>
                    <a:pt x="479" y="271"/>
                  </a:cubicBezTo>
                  <a:close/>
                  <a:moveTo>
                    <a:pt x="64" y="63"/>
                  </a:moveTo>
                  <a:cubicBezTo>
                    <a:pt x="64" y="81"/>
                    <a:pt x="64" y="99"/>
                    <a:pt x="64" y="112"/>
                  </a:cubicBezTo>
                  <a:cubicBezTo>
                    <a:pt x="80" y="97"/>
                    <a:pt x="97" y="80"/>
                    <a:pt x="114" y="63"/>
                  </a:cubicBezTo>
                  <a:cubicBezTo>
                    <a:pt x="99" y="63"/>
                    <a:pt x="83" y="63"/>
                    <a:pt x="64" y="63"/>
                  </a:cubicBezTo>
                  <a:close/>
                  <a:moveTo>
                    <a:pt x="478" y="433"/>
                  </a:moveTo>
                  <a:cubicBezTo>
                    <a:pt x="462" y="447"/>
                    <a:pt x="446" y="461"/>
                    <a:pt x="427" y="477"/>
                  </a:cubicBezTo>
                  <a:cubicBezTo>
                    <a:pt x="447" y="477"/>
                    <a:pt x="462" y="477"/>
                    <a:pt x="478" y="477"/>
                  </a:cubicBezTo>
                  <a:cubicBezTo>
                    <a:pt x="478" y="461"/>
                    <a:pt x="478" y="446"/>
                    <a:pt x="478" y="4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6" name="Group 125">
            <a:extLst>
              <a:ext uri="{FF2B5EF4-FFF2-40B4-BE49-F238E27FC236}">
                <a16:creationId xmlns:a16="http://schemas.microsoft.com/office/drawing/2014/main" id="{AF93B902-648B-4B4D-A41D-BCB02803494B}"/>
              </a:ext>
            </a:extLst>
          </p:cNvPr>
          <p:cNvGrpSpPr>
            <a:grpSpLocks noChangeAspect="1"/>
          </p:cNvGrpSpPr>
          <p:nvPr/>
        </p:nvGrpSpPr>
        <p:grpSpPr>
          <a:xfrm>
            <a:off x="4125105" y="2934493"/>
            <a:ext cx="136765" cy="232575"/>
            <a:chOff x="13328650" y="1616075"/>
            <a:chExt cx="2374900" cy="4038601"/>
          </a:xfrm>
          <a:solidFill>
            <a:schemeClr val="bg1"/>
          </a:solidFill>
        </p:grpSpPr>
        <p:sp>
          <p:nvSpPr>
            <p:cNvPr id="127" name="Freeform 6">
              <a:extLst>
                <a:ext uri="{FF2B5EF4-FFF2-40B4-BE49-F238E27FC236}">
                  <a16:creationId xmlns:a16="http://schemas.microsoft.com/office/drawing/2014/main" id="{7DE9CCFD-90C7-2942-91F3-414C57AC42B5}"/>
                </a:ext>
              </a:extLst>
            </p:cNvPr>
            <p:cNvSpPr>
              <a:spLocks noEditPoints="1"/>
            </p:cNvSpPr>
            <p:nvPr/>
          </p:nvSpPr>
          <p:spPr bwMode="auto">
            <a:xfrm>
              <a:off x="13328650" y="1616075"/>
              <a:ext cx="2374900" cy="3130550"/>
            </a:xfrm>
            <a:custGeom>
              <a:avLst/>
              <a:gdLst>
                <a:gd name="T0" fmla="*/ 84 w 1096"/>
                <a:gd name="T1" fmla="*/ 1167 h 1450"/>
                <a:gd name="T2" fmla="*/ 9 w 1096"/>
                <a:gd name="T3" fmla="*/ 1072 h 1450"/>
                <a:gd name="T4" fmla="*/ 166 w 1096"/>
                <a:gd name="T5" fmla="*/ 884 h 1450"/>
                <a:gd name="T6" fmla="*/ 414 w 1096"/>
                <a:gd name="T7" fmla="*/ 987 h 1450"/>
                <a:gd name="T8" fmla="*/ 515 w 1096"/>
                <a:gd name="T9" fmla="*/ 894 h 1450"/>
                <a:gd name="T10" fmla="*/ 284 w 1096"/>
                <a:gd name="T11" fmla="*/ 788 h 1450"/>
                <a:gd name="T12" fmla="*/ 172 w 1096"/>
                <a:gd name="T13" fmla="*/ 234 h 1450"/>
                <a:gd name="T14" fmla="*/ 335 w 1096"/>
                <a:gd name="T15" fmla="*/ 134 h 1450"/>
                <a:gd name="T16" fmla="*/ 374 w 1096"/>
                <a:gd name="T17" fmla="*/ 0 h 1450"/>
                <a:gd name="T18" fmla="*/ 550 w 1096"/>
                <a:gd name="T19" fmla="*/ 37 h 1450"/>
                <a:gd name="T20" fmla="*/ 550 w 1096"/>
                <a:gd name="T21" fmla="*/ 150 h 1450"/>
                <a:gd name="T22" fmla="*/ 814 w 1096"/>
                <a:gd name="T23" fmla="*/ 293 h 1450"/>
                <a:gd name="T24" fmla="*/ 703 w 1096"/>
                <a:gd name="T25" fmla="*/ 492 h 1450"/>
                <a:gd name="T26" fmla="*/ 503 w 1096"/>
                <a:gd name="T27" fmla="*/ 424 h 1450"/>
                <a:gd name="T28" fmla="*/ 372 w 1096"/>
                <a:gd name="T29" fmla="*/ 430 h 1450"/>
                <a:gd name="T30" fmla="*/ 454 w 1096"/>
                <a:gd name="T31" fmla="*/ 537 h 1450"/>
                <a:gd name="T32" fmla="*/ 815 w 1096"/>
                <a:gd name="T33" fmla="*/ 776 h 1450"/>
                <a:gd name="T34" fmla="*/ 859 w 1096"/>
                <a:gd name="T35" fmla="*/ 895 h 1450"/>
                <a:gd name="T36" fmla="*/ 1002 w 1096"/>
                <a:gd name="T37" fmla="*/ 1227 h 1450"/>
                <a:gd name="T38" fmla="*/ 1057 w 1096"/>
                <a:gd name="T39" fmla="*/ 1261 h 1450"/>
                <a:gd name="T40" fmla="*/ 1096 w 1096"/>
                <a:gd name="T41" fmla="*/ 1411 h 1450"/>
                <a:gd name="T42" fmla="*/ 320 w 1096"/>
                <a:gd name="T43" fmla="*/ 1449 h 1450"/>
                <a:gd name="T44" fmla="*/ 284 w 1096"/>
                <a:gd name="T45" fmla="*/ 1298 h 1450"/>
                <a:gd name="T46" fmla="*/ 396 w 1096"/>
                <a:gd name="T47" fmla="*/ 64 h 1450"/>
                <a:gd name="T48" fmla="*/ 358 w 1096"/>
                <a:gd name="T49" fmla="*/ 213 h 1450"/>
                <a:gd name="T50" fmla="*/ 118 w 1096"/>
                <a:gd name="T51" fmla="*/ 538 h 1450"/>
                <a:gd name="T52" fmla="*/ 472 w 1096"/>
                <a:gd name="T53" fmla="*/ 801 h 1450"/>
                <a:gd name="T54" fmla="*/ 558 w 1096"/>
                <a:gd name="T55" fmla="*/ 1027 h 1450"/>
                <a:gd name="T56" fmla="*/ 503 w 1096"/>
                <a:gd name="T57" fmla="*/ 1212 h 1450"/>
                <a:gd name="T58" fmla="*/ 736 w 1096"/>
                <a:gd name="T59" fmla="*/ 1066 h 1450"/>
                <a:gd name="T60" fmla="*/ 624 w 1096"/>
                <a:gd name="T61" fmla="*/ 680 h 1450"/>
                <a:gd name="T62" fmla="*/ 326 w 1096"/>
                <a:gd name="T63" fmla="*/ 538 h 1450"/>
                <a:gd name="T64" fmla="*/ 381 w 1096"/>
                <a:gd name="T65" fmla="*/ 361 h 1450"/>
                <a:gd name="T66" fmla="*/ 671 w 1096"/>
                <a:gd name="T67" fmla="*/ 433 h 1450"/>
                <a:gd name="T68" fmla="*/ 541 w 1096"/>
                <a:gd name="T69" fmla="*/ 213 h 1450"/>
                <a:gd name="T70" fmla="*/ 489 w 1096"/>
                <a:gd name="T71" fmla="*/ 64 h 1450"/>
                <a:gd name="T72" fmla="*/ 74 w 1096"/>
                <a:gd name="T73" fmla="*/ 1083 h 1450"/>
                <a:gd name="T74" fmla="*/ 390 w 1096"/>
                <a:gd name="T75" fmla="*/ 1052 h 1450"/>
                <a:gd name="T76" fmla="*/ 153 w 1096"/>
                <a:gd name="T77" fmla="*/ 953 h 1450"/>
                <a:gd name="T78" fmla="*/ 570 w 1096"/>
                <a:gd name="T79" fmla="*/ 1261 h 1450"/>
                <a:gd name="T80" fmla="*/ 826 w 1096"/>
                <a:gd name="T81" fmla="*/ 1033 h 1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6" h="1450">
                  <a:moveTo>
                    <a:pt x="294" y="1262"/>
                  </a:moveTo>
                  <a:cubicBezTo>
                    <a:pt x="221" y="1240"/>
                    <a:pt x="150" y="1209"/>
                    <a:pt x="84" y="1167"/>
                  </a:cubicBezTo>
                  <a:cubicBezTo>
                    <a:pt x="60" y="1151"/>
                    <a:pt x="38" y="1133"/>
                    <a:pt x="16" y="1115"/>
                  </a:cubicBezTo>
                  <a:cubicBezTo>
                    <a:pt x="1" y="1103"/>
                    <a:pt x="0" y="1087"/>
                    <a:pt x="9" y="1072"/>
                  </a:cubicBezTo>
                  <a:cubicBezTo>
                    <a:pt x="44" y="1012"/>
                    <a:pt x="80" y="953"/>
                    <a:pt x="116" y="894"/>
                  </a:cubicBezTo>
                  <a:cubicBezTo>
                    <a:pt x="128" y="874"/>
                    <a:pt x="145" y="871"/>
                    <a:pt x="166" y="884"/>
                  </a:cubicBezTo>
                  <a:cubicBezTo>
                    <a:pt x="198" y="902"/>
                    <a:pt x="230" y="922"/>
                    <a:pt x="262" y="940"/>
                  </a:cubicBezTo>
                  <a:cubicBezTo>
                    <a:pt x="310" y="966"/>
                    <a:pt x="360" y="982"/>
                    <a:pt x="414" y="987"/>
                  </a:cubicBezTo>
                  <a:cubicBezTo>
                    <a:pt x="420" y="988"/>
                    <a:pt x="429" y="985"/>
                    <a:pt x="434" y="980"/>
                  </a:cubicBezTo>
                  <a:cubicBezTo>
                    <a:pt x="461" y="952"/>
                    <a:pt x="487" y="924"/>
                    <a:pt x="515" y="894"/>
                  </a:cubicBezTo>
                  <a:cubicBezTo>
                    <a:pt x="501" y="886"/>
                    <a:pt x="486" y="876"/>
                    <a:pt x="469" y="868"/>
                  </a:cubicBezTo>
                  <a:cubicBezTo>
                    <a:pt x="407" y="841"/>
                    <a:pt x="345" y="816"/>
                    <a:pt x="284" y="788"/>
                  </a:cubicBezTo>
                  <a:cubicBezTo>
                    <a:pt x="216" y="757"/>
                    <a:pt x="153" y="717"/>
                    <a:pt x="108" y="656"/>
                  </a:cubicBezTo>
                  <a:cubicBezTo>
                    <a:pt x="9" y="521"/>
                    <a:pt x="38" y="334"/>
                    <a:pt x="172" y="234"/>
                  </a:cubicBezTo>
                  <a:cubicBezTo>
                    <a:pt x="215" y="202"/>
                    <a:pt x="262" y="176"/>
                    <a:pt x="314" y="163"/>
                  </a:cubicBezTo>
                  <a:cubicBezTo>
                    <a:pt x="331" y="158"/>
                    <a:pt x="335" y="150"/>
                    <a:pt x="335" y="134"/>
                  </a:cubicBezTo>
                  <a:cubicBezTo>
                    <a:pt x="333" y="102"/>
                    <a:pt x="334" y="71"/>
                    <a:pt x="334" y="40"/>
                  </a:cubicBezTo>
                  <a:cubicBezTo>
                    <a:pt x="335" y="12"/>
                    <a:pt x="346" y="1"/>
                    <a:pt x="374" y="0"/>
                  </a:cubicBezTo>
                  <a:cubicBezTo>
                    <a:pt x="420" y="0"/>
                    <a:pt x="467" y="0"/>
                    <a:pt x="514" y="0"/>
                  </a:cubicBezTo>
                  <a:cubicBezTo>
                    <a:pt x="539" y="1"/>
                    <a:pt x="550" y="11"/>
                    <a:pt x="550" y="37"/>
                  </a:cubicBezTo>
                  <a:cubicBezTo>
                    <a:pt x="550" y="56"/>
                    <a:pt x="550" y="74"/>
                    <a:pt x="550" y="93"/>
                  </a:cubicBezTo>
                  <a:cubicBezTo>
                    <a:pt x="550" y="112"/>
                    <a:pt x="550" y="130"/>
                    <a:pt x="550" y="150"/>
                  </a:cubicBezTo>
                  <a:cubicBezTo>
                    <a:pt x="576" y="158"/>
                    <a:pt x="601" y="166"/>
                    <a:pt x="626" y="175"/>
                  </a:cubicBezTo>
                  <a:cubicBezTo>
                    <a:pt x="696" y="202"/>
                    <a:pt x="759" y="241"/>
                    <a:pt x="814" y="293"/>
                  </a:cubicBezTo>
                  <a:cubicBezTo>
                    <a:pt x="834" y="313"/>
                    <a:pt x="836" y="327"/>
                    <a:pt x="819" y="349"/>
                  </a:cubicBezTo>
                  <a:cubicBezTo>
                    <a:pt x="781" y="397"/>
                    <a:pt x="742" y="444"/>
                    <a:pt x="703" y="492"/>
                  </a:cubicBezTo>
                  <a:cubicBezTo>
                    <a:pt x="686" y="513"/>
                    <a:pt x="671" y="514"/>
                    <a:pt x="648" y="497"/>
                  </a:cubicBezTo>
                  <a:cubicBezTo>
                    <a:pt x="604" y="464"/>
                    <a:pt x="558" y="433"/>
                    <a:pt x="503" y="424"/>
                  </a:cubicBezTo>
                  <a:cubicBezTo>
                    <a:pt x="468" y="418"/>
                    <a:pt x="432" y="421"/>
                    <a:pt x="396" y="421"/>
                  </a:cubicBezTo>
                  <a:cubicBezTo>
                    <a:pt x="388" y="421"/>
                    <a:pt x="380" y="426"/>
                    <a:pt x="372" y="430"/>
                  </a:cubicBezTo>
                  <a:cubicBezTo>
                    <a:pt x="345" y="447"/>
                    <a:pt x="342" y="476"/>
                    <a:pt x="369" y="493"/>
                  </a:cubicBezTo>
                  <a:cubicBezTo>
                    <a:pt x="395" y="511"/>
                    <a:pt x="425" y="524"/>
                    <a:pt x="454" y="537"/>
                  </a:cubicBezTo>
                  <a:cubicBezTo>
                    <a:pt x="520" y="567"/>
                    <a:pt x="589" y="593"/>
                    <a:pt x="655" y="625"/>
                  </a:cubicBezTo>
                  <a:cubicBezTo>
                    <a:pt x="722" y="659"/>
                    <a:pt x="781" y="706"/>
                    <a:pt x="815" y="776"/>
                  </a:cubicBezTo>
                  <a:cubicBezTo>
                    <a:pt x="830" y="807"/>
                    <a:pt x="835" y="842"/>
                    <a:pt x="846" y="874"/>
                  </a:cubicBezTo>
                  <a:cubicBezTo>
                    <a:pt x="849" y="882"/>
                    <a:pt x="853" y="891"/>
                    <a:pt x="859" y="895"/>
                  </a:cubicBezTo>
                  <a:cubicBezTo>
                    <a:pt x="938" y="947"/>
                    <a:pt x="986" y="1020"/>
                    <a:pt x="999" y="1113"/>
                  </a:cubicBezTo>
                  <a:cubicBezTo>
                    <a:pt x="1005" y="1150"/>
                    <a:pt x="1002" y="1189"/>
                    <a:pt x="1002" y="1227"/>
                  </a:cubicBezTo>
                  <a:cubicBezTo>
                    <a:pt x="1003" y="1237"/>
                    <a:pt x="1002" y="1248"/>
                    <a:pt x="1002" y="1261"/>
                  </a:cubicBezTo>
                  <a:cubicBezTo>
                    <a:pt x="1022" y="1261"/>
                    <a:pt x="1039" y="1261"/>
                    <a:pt x="1057" y="1261"/>
                  </a:cubicBezTo>
                  <a:cubicBezTo>
                    <a:pt x="1085" y="1262"/>
                    <a:pt x="1094" y="1271"/>
                    <a:pt x="1094" y="1299"/>
                  </a:cubicBezTo>
                  <a:cubicBezTo>
                    <a:pt x="1095" y="1336"/>
                    <a:pt x="1096" y="1373"/>
                    <a:pt x="1096" y="1411"/>
                  </a:cubicBezTo>
                  <a:cubicBezTo>
                    <a:pt x="1096" y="1441"/>
                    <a:pt x="1087" y="1449"/>
                    <a:pt x="1058" y="1449"/>
                  </a:cubicBezTo>
                  <a:cubicBezTo>
                    <a:pt x="812" y="1450"/>
                    <a:pt x="566" y="1450"/>
                    <a:pt x="320" y="1449"/>
                  </a:cubicBezTo>
                  <a:cubicBezTo>
                    <a:pt x="292" y="1449"/>
                    <a:pt x="284" y="1442"/>
                    <a:pt x="284" y="1414"/>
                  </a:cubicBezTo>
                  <a:cubicBezTo>
                    <a:pt x="283" y="1375"/>
                    <a:pt x="283" y="1336"/>
                    <a:pt x="284" y="1298"/>
                  </a:cubicBezTo>
                  <a:cubicBezTo>
                    <a:pt x="284" y="1287"/>
                    <a:pt x="290" y="1276"/>
                    <a:pt x="294" y="1262"/>
                  </a:cubicBezTo>
                  <a:close/>
                  <a:moveTo>
                    <a:pt x="396" y="64"/>
                  </a:moveTo>
                  <a:cubicBezTo>
                    <a:pt x="396" y="99"/>
                    <a:pt x="396" y="131"/>
                    <a:pt x="396" y="164"/>
                  </a:cubicBezTo>
                  <a:cubicBezTo>
                    <a:pt x="396" y="197"/>
                    <a:pt x="390" y="204"/>
                    <a:pt x="358" y="213"/>
                  </a:cubicBezTo>
                  <a:cubicBezTo>
                    <a:pt x="311" y="226"/>
                    <a:pt x="265" y="245"/>
                    <a:pt x="224" y="272"/>
                  </a:cubicBezTo>
                  <a:cubicBezTo>
                    <a:pt x="133" y="332"/>
                    <a:pt x="91" y="435"/>
                    <a:pt x="118" y="538"/>
                  </a:cubicBezTo>
                  <a:cubicBezTo>
                    <a:pt x="138" y="616"/>
                    <a:pt x="190" y="669"/>
                    <a:pt x="260" y="705"/>
                  </a:cubicBezTo>
                  <a:cubicBezTo>
                    <a:pt x="329" y="740"/>
                    <a:pt x="402" y="768"/>
                    <a:pt x="472" y="801"/>
                  </a:cubicBezTo>
                  <a:cubicBezTo>
                    <a:pt x="505" y="817"/>
                    <a:pt x="539" y="834"/>
                    <a:pt x="568" y="857"/>
                  </a:cubicBezTo>
                  <a:cubicBezTo>
                    <a:pt x="626" y="905"/>
                    <a:pt x="619" y="985"/>
                    <a:pt x="558" y="1027"/>
                  </a:cubicBezTo>
                  <a:cubicBezTo>
                    <a:pt x="554" y="1030"/>
                    <a:pt x="550" y="1033"/>
                    <a:pt x="547" y="1036"/>
                  </a:cubicBezTo>
                  <a:cubicBezTo>
                    <a:pt x="503" y="1087"/>
                    <a:pt x="496" y="1148"/>
                    <a:pt x="503" y="1212"/>
                  </a:cubicBezTo>
                  <a:cubicBezTo>
                    <a:pt x="511" y="1210"/>
                    <a:pt x="518" y="1208"/>
                    <a:pt x="525" y="1206"/>
                  </a:cubicBezTo>
                  <a:cubicBezTo>
                    <a:pt x="611" y="1182"/>
                    <a:pt x="684" y="1139"/>
                    <a:pt x="736" y="1066"/>
                  </a:cubicBezTo>
                  <a:cubicBezTo>
                    <a:pt x="792" y="988"/>
                    <a:pt x="803" y="902"/>
                    <a:pt x="763" y="813"/>
                  </a:cubicBezTo>
                  <a:cubicBezTo>
                    <a:pt x="735" y="751"/>
                    <a:pt x="683" y="709"/>
                    <a:pt x="624" y="680"/>
                  </a:cubicBezTo>
                  <a:cubicBezTo>
                    <a:pt x="556" y="647"/>
                    <a:pt x="485" y="620"/>
                    <a:pt x="416" y="589"/>
                  </a:cubicBezTo>
                  <a:cubicBezTo>
                    <a:pt x="384" y="574"/>
                    <a:pt x="354" y="557"/>
                    <a:pt x="326" y="538"/>
                  </a:cubicBezTo>
                  <a:cubicBezTo>
                    <a:pt x="301" y="522"/>
                    <a:pt x="289" y="496"/>
                    <a:pt x="289" y="466"/>
                  </a:cubicBezTo>
                  <a:cubicBezTo>
                    <a:pt x="290" y="414"/>
                    <a:pt x="325" y="373"/>
                    <a:pt x="381" y="361"/>
                  </a:cubicBezTo>
                  <a:cubicBezTo>
                    <a:pt x="456" y="344"/>
                    <a:pt x="528" y="356"/>
                    <a:pt x="596" y="390"/>
                  </a:cubicBezTo>
                  <a:cubicBezTo>
                    <a:pt x="621" y="403"/>
                    <a:pt x="645" y="419"/>
                    <a:pt x="671" y="433"/>
                  </a:cubicBezTo>
                  <a:cubicBezTo>
                    <a:pt x="700" y="397"/>
                    <a:pt x="728" y="361"/>
                    <a:pt x="757" y="325"/>
                  </a:cubicBezTo>
                  <a:cubicBezTo>
                    <a:pt x="693" y="270"/>
                    <a:pt x="622" y="233"/>
                    <a:pt x="541" y="213"/>
                  </a:cubicBezTo>
                  <a:cubicBezTo>
                    <a:pt x="489" y="200"/>
                    <a:pt x="489" y="200"/>
                    <a:pt x="489" y="147"/>
                  </a:cubicBezTo>
                  <a:cubicBezTo>
                    <a:pt x="489" y="119"/>
                    <a:pt x="489" y="92"/>
                    <a:pt x="489" y="64"/>
                  </a:cubicBezTo>
                  <a:cubicBezTo>
                    <a:pt x="457" y="64"/>
                    <a:pt x="428" y="64"/>
                    <a:pt x="396" y="64"/>
                  </a:cubicBezTo>
                  <a:close/>
                  <a:moveTo>
                    <a:pt x="74" y="1083"/>
                  </a:moveTo>
                  <a:cubicBezTo>
                    <a:pt x="164" y="1152"/>
                    <a:pt x="264" y="1194"/>
                    <a:pt x="371" y="1216"/>
                  </a:cubicBezTo>
                  <a:cubicBezTo>
                    <a:pt x="378" y="1160"/>
                    <a:pt x="384" y="1105"/>
                    <a:pt x="390" y="1052"/>
                  </a:cubicBezTo>
                  <a:cubicBezTo>
                    <a:pt x="352" y="1039"/>
                    <a:pt x="310" y="1029"/>
                    <a:pt x="270" y="1012"/>
                  </a:cubicBezTo>
                  <a:cubicBezTo>
                    <a:pt x="230" y="996"/>
                    <a:pt x="192" y="973"/>
                    <a:pt x="153" y="953"/>
                  </a:cubicBezTo>
                  <a:cubicBezTo>
                    <a:pt x="127" y="996"/>
                    <a:pt x="101" y="1039"/>
                    <a:pt x="74" y="1083"/>
                  </a:cubicBezTo>
                  <a:close/>
                  <a:moveTo>
                    <a:pt x="570" y="1261"/>
                  </a:moveTo>
                  <a:cubicBezTo>
                    <a:pt x="672" y="1261"/>
                    <a:pt x="774" y="1261"/>
                    <a:pt x="877" y="1261"/>
                  </a:cubicBezTo>
                  <a:cubicBezTo>
                    <a:pt x="880" y="1147"/>
                    <a:pt x="883" y="1091"/>
                    <a:pt x="826" y="1033"/>
                  </a:cubicBezTo>
                  <a:cubicBezTo>
                    <a:pt x="776" y="1149"/>
                    <a:pt x="684" y="1218"/>
                    <a:pt x="570" y="1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7">
              <a:extLst>
                <a:ext uri="{FF2B5EF4-FFF2-40B4-BE49-F238E27FC236}">
                  <a16:creationId xmlns:a16="http://schemas.microsoft.com/office/drawing/2014/main" id="{287639AE-D024-5747-B970-9142AF7BF194}"/>
                </a:ext>
              </a:extLst>
            </p:cNvPr>
            <p:cNvSpPr>
              <a:spLocks/>
            </p:cNvSpPr>
            <p:nvPr/>
          </p:nvSpPr>
          <p:spPr bwMode="auto">
            <a:xfrm>
              <a:off x="13941425" y="5253038"/>
              <a:ext cx="1762125" cy="401638"/>
            </a:xfrm>
            <a:custGeom>
              <a:avLst/>
              <a:gdLst>
                <a:gd name="T0" fmla="*/ 407 w 813"/>
                <a:gd name="T1" fmla="*/ 0 h 186"/>
                <a:gd name="T2" fmla="*/ 773 w 813"/>
                <a:gd name="T3" fmla="*/ 0 h 186"/>
                <a:gd name="T4" fmla="*/ 813 w 813"/>
                <a:gd name="T5" fmla="*/ 39 h 186"/>
                <a:gd name="T6" fmla="*/ 813 w 813"/>
                <a:gd name="T7" fmla="*/ 149 h 186"/>
                <a:gd name="T8" fmla="*/ 775 w 813"/>
                <a:gd name="T9" fmla="*/ 186 h 186"/>
                <a:gd name="T10" fmla="*/ 38 w 813"/>
                <a:gd name="T11" fmla="*/ 186 h 186"/>
                <a:gd name="T12" fmla="*/ 1 w 813"/>
                <a:gd name="T13" fmla="*/ 149 h 186"/>
                <a:gd name="T14" fmla="*/ 1 w 813"/>
                <a:gd name="T15" fmla="*/ 35 h 186"/>
                <a:gd name="T16" fmla="*/ 37 w 813"/>
                <a:gd name="T17" fmla="*/ 0 h 186"/>
                <a:gd name="T18" fmla="*/ 407 w 813"/>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3" h="186">
                  <a:moveTo>
                    <a:pt x="407" y="0"/>
                  </a:moveTo>
                  <a:cubicBezTo>
                    <a:pt x="529" y="0"/>
                    <a:pt x="651" y="0"/>
                    <a:pt x="773" y="0"/>
                  </a:cubicBezTo>
                  <a:cubicBezTo>
                    <a:pt x="805" y="0"/>
                    <a:pt x="813" y="7"/>
                    <a:pt x="813" y="39"/>
                  </a:cubicBezTo>
                  <a:cubicBezTo>
                    <a:pt x="813" y="76"/>
                    <a:pt x="813" y="113"/>
                    <a:pt x="813" y="149"/>
                  </a:cubicBezTo>
                  <a:cubicBezTo>
                    <a:pt x="812" y="177"/>
                    <a:pt x="804" y="186"/>
                    <a:pt x="775" y="186"/>
                  </a:cubicBezTo>
                  <a:cubicBezTo>
                    <a:pt x="529" y="186"/>
                    <a:pt x="284" y="186"/>
                    <a:pt x="38" y="186"/>
                  </a:cubicBezTo>
                  <a:cubicBezTo>
                    <a:pt x="9" y="186"/>
                    <a:pt x="1" y="178"/>
                    <a:pt x="1" y="149"/>
                  </a:cubicBezTo>
                  <a:cubicBezTo>
                    <a:pt x="0" y="111"/>
                    <a:pt x="0" y="73"/>
                    <a:pt x="1" y="35"/>
                  </a:cubicBezTo>
                  <a:cubicBezTo>
                    <a:pt x="1" y="8"/>
                    <a:pt x="9" y="0"/>
                    <a:pt x="37" y="0"/>
                  </a:cubicBezTo>
                  <a:cubicBezTo>
                    <a:pt x="160" y="0"/>
                    <a:pt x="283" y="0"/>
                    <a:pt x="4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8">
              <a:extLst>
                <a:ext uri="{FF2B5EF4-FFF2-40B4-BE49-F238E27FC236}">
                  <a16:creationId xmlns:a16="http://schemas.microsoft.com/office/drawing/2014/main" id="{623627E3-0FAF-A440-A7E9-7651B3C35445}"/>
                </a:ext>
              </a:extLst>
            </p:cNvPr>
            <p:cNvSpPr>
              <a:spLocks/>
            </p:cNvSpPr>
            <p:nvPr/>
          </p:nvSpPr>
          <p:spPr bwMode="auto">
            <a:xfrm>
              <a:off x="13941425" y="4795838"/>
              <a:ext cx="1760537" cy="406400"/>
            </a:xfrm>
            <a:custGeom>
              <a:avLst/>
              <a:gdLst>
                <a:gd name="T0" fmla="*/ 405 w 812"/>
                <a:gd name="T1" fmla="*/ 188 h 188"/>
                <a:gd name="T2" fmla="*/ 43 w 812"/>
                <a:gd name="T3" fmla="*/ 188 h 188"/>
                <a:gd name="T4" fmla="*/ 1 w 812"/>
                <a:gd name="T5" fmla="*/ 145 h 188"/>
                <a:gd name="T6" fmla="*/ 1 w 812"/>
                <a:gd name="T7" fmla="*/ 37 h 188"/>
                <a:gd name="T8" fmla="*/ 37 w 812"/>
                <a:gd name="T9" fmla="*/ 1 h 188"/>
                <a:gd name="T10" fmla="*/ 777 w 812"/>
                <a:gd name="T11" fmla="*/ 1 h 188"/>
                <a:gd name="T12" fmla="*/ 811 w 812"/>
                <a:gd name="T13" fmla="*/ 36 h 188"/>
                <a:gd name="T14" fmla="*/ 811 w 812"/>
                <a:gd name="T15" fmla="*/ 152 h 188"/>
                <a:gd name="T16" fmla="*/ 775 w 812"/>
                <a:gd name="T17" fmla="*/ 188 h 188"/>
                <a:gd name="T18" fmla="*/ 405 w 812"/>
                <a:gd name="T1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188">
                  <a:moveTo>
                    <a:pt x="405" y="188"/>
                  </a:moveTo>
                  <a:cubicBezTo>
                    <a:pt x="284" y="188"/>
                    <a:pt x="164" y="188"/>
                    <a:pt x="43" y="188"/>
                  </a:cubicBezTo>
                  <a:cubicBezTo>
                    <a:pt x="8" y="188"/>
                    <a:pt x="1" y="180"/>
                    <a:pt x="1" y="145"/>
                  </a:cubicBezTo>
                  <a:cubicBezTo>
                    <a:pt x="1" y="109"/>
                    <a:pt x="0" y="73"/>
                    <a:pt x="1" y="37"/>
                  </a:cubicBezTo>
                  <a:cubicBezTo>
                    <a:pt x="1" y="10"/>
                    <a:pt x="10" y="1"/>
                    <a:pt x="37" y="1"/>
                  </a:cubicBezTo>
                  <a:cubicBezTo>
                    <a:pt x="284" y="0"/>
                    <a:pt x="530" y="0"/>
                    <a:pt x="777" y="1"/>
                  </a:cubicBezTo>
                  <a:cubicBezTo>
                    <a:pt x="802" y="1"/>
                    <a:pt x="811" y="10"/>
                    <a:pt x="811" y="36"/>
                  </a:cubicBezTo>
                  <a:cubicBezTo>
                    <a:pt x="812" y="75"/>
                    <a:pt x="812" y="113"/>
                    <a:pt x="811" y="152"/>
                  </a:cubicBezTo>
                  <a:cubicBezTo>
                    <a:pt x="811" y="178"/>
                    <a:pt x="802" y="187"/>
                    <a:pt x="775" y="188"/>
                  </a:cubicBezTo>
                  <a:cubicBezTo>
                    <a:pt x="651" y="188"/>
                    <a:pt x="528" y="188"/>
                    <a:pt x="405"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0" name="Group 129">
            <a:extLst>
              <a:ext uri="{FF2B5EF4-FFF2-40B4-BE49-F238E27FC236}">
                <a16:creationId xmlns:a16="http://schemas.microsoft.com/office/drawing/2014/main" id="{3DFDC53B-7949-4642-90E0-108C57DE0D90}"/>
              </a:ext>
            </a:extLst>
          </p:cNvPr>
          <p:cNvGrpSpPr>
            <a:grpSpLocks noChangeAspect="1"/>
          </p:cNvGrpSpPr>
          <p:nvPr/>
        </p:nvGrpSpPr>
        <p:grpSpPr>
          <a:xfrm>
            <a:off x="3659865" y="2929950"/>
            <a:ext cx="220136" cy="219700"/>
            <a:chOff x="2112962" y="1331913"/>
            <a:chExt cx="3043238" cy="3114675"/>
          </a:xfrm>
          <a:solidFill>
            <a:schemeClr val="bg1"/>
          </a:solidFill>
        </p:grpSpPr>
        <p:sp>
          <p:nvSpPr>
            <p:cNvPr id="131" name="Freeform 5">
              <a:extLst>
                <a:ext uri="{FF2B5EF4-FFF2-40B4-BE49-F238E27FC236}">
                  <a16:creationId xmlns:a16="http://schemas.microsoft.com/office/drawing/2014/main" id="{402AE3DF-088F-1048-B80B-A51C7ACF7DE1}"/>
                </a:ext>
              </a:extLst>
            </p:cNvPr>
            <p:cNvSpPr>
              <a:spLocks noEditPoints="1"/>
            </p:cNvSpPr>
            <p:nvPr/>
          </p:nvSpPr>
          <p:spPr bwMode="auto">
            <a:xfrm>
              <a:off x="2112962" y="1331913"/>
              <a:ext cx="3043238" cy="3114675"/>
            </a:xfrm>
            <a:custGeom>
              <a:avLst/>
              <a:gdLst>
                <a:gd name="T0" fmla="*/ 2081 w 2195"/>
                <a:gd name="T1" fmla="*/ 75 h 2250"/>
                <a:gd name="T2" fmla="*/ 1960 w 2195"/>
                <a:gd name="T3" fmla="*/ 767 h 2250"/>
                <a:gd name="T4" fmla="*/ 1951 w 2195"/>
                <a:gd name="T5" fmla="*/ 2121 h 2250"/>
                <a:gd name="T6" fmla="*/ 1846 w 2195"/>
                <a:gd name="T7" fmla="*/ 2249 h 2250"/>
                <a:gd name="T8" fmla="*/ 118 w 2195"/>
                <a:gd name="T9" fmla="*/ 2249 h 2250"/>
                <a:gd name="T10" fmla="*/ 0 w 2195"/>
                <a:gd name="T11" fmla="*/ 2138 h 2250"/>
                <a:gd name="T12" fmla="*/ 0 w 2195"/>
                <a:gd name="T13" fmla="*/ 128 h 2250"/>
                <a:gd name="T14" fmla="*/ 106 w 2195"/>
                <a:gd name="T15" fmla="*/ 1 h 2250"/>
                <a:gd name="T16" fmla="*/ 1818 w 2195"/>
                <a:gd name="T17" fmla="*/ 0 h 2250"/>
                <a:gd name="T18" fmla="*/ 1576 w 2195"/>
                <a:gd name="T19" fmla="*/ 902 h 2250"/>
                <a:gd name="T20" fmla="*/ 1644 w 2195"/>
                <a:gd name="T21" fmla="*/ 743 h 2250"/>
                <a:gd name="T22" fmla="*/ 1651 w 2195"/>
                <a:gd name="T23" fmla="*/ 126 h 2250"/>
                <a:gd name="T24" fmla="*/ 126 w 2195"/>
                <a:gd name="T25" fmla="*/ 75 h 2250"/>
                <a:gd name="T26" fmla="*/ 76 w 2195"/>
                <a:gd name="T27" fmla="*/ 2125 h 2250"/>
                <a:gd name="T28" fmla="*/ 1599 w 2195"/>
                <a:gd name="T29" fmla="*/ 2175 h 2250"/>
                <a:gd name="T30" fmla="*/ 1651 w 2195"/>
                <a:gd name="T31" fmla="*/ 1538 h 2250"/>
                <a:gd name="T32" fmla="*/ 1623 w 2195"/>
                <a:gd name="T33" fmla="*/ 1567 h 2250"/>
                <a:gd name="T34" fmla="*/ 1364 w 2195"/>
                <a:gd name="T35" fmla="*/ 1902 h 2250"/>
                <a:gd name="T36" fmla="*/ 1298 w 2195"/>
                <a:gd name="T37" fmla="*/ 1869 h 2250"/>
                <a:gd name="T38" fmla="*/ 1346 w 2195"/>
                <a:gd name="T39" fmla="*/ 1500 h 2250"/>
                <a:gd name="T40" fmla="*/ 152 w 2195"/>
                <a:gd name="T41" fmla="*/ 1425 h 2250"/>
                <a:gd name="T42" fmla="*/ 1337 w 2195"/>
                <a:gd name="T43" fmla="*/ 1425 h 2250"/>
                <a:gd name="T44" fmla="*/ 1364 w 2195"/>
                <a:gd name="T45" fmla="*/ 1418 h 2250"/>
                <a:gd name="T46" fmla="*/ 152 w 2195"/>
                <a:gd name="T47" fmla="*/ 1349 h 2250"/>
                <a:gd name="T48" fmla="*/ 181 w 2195"/>
                <a:gd name="T49" fmla="*/ 1275 h 2250"/>
                <a:gd name="T50" fmla="*/ 1417 w 2195"/>
                <a:gd name="T51" fmla="*/ 1275 h 2250"/>
                <a:gd name="T52" fmla="*/ 1456 w 2195"/>
                <a:gd name="T53" fmla="*/ 1199 h 2250"/>
                <a:gd name="T54" fmla="*/ 677 w 2195"/>
                <a:gd name="T55" fmla="*/ 1125 h 2250"/>
                <a:gd name="T56" fmla="*/ 1466 w 2195"/>
                <a:gd name="T57" fmla="*/ 1125 h 2250"/>
                <a:gd name="T58" fmla="*/ 1542 w 2195"/>
                <a:gd name="T59" fmla="*/ 988 h 2250"/>
                <a:gd name="T60" fmla="*/ 1576 w 2195"/>
                <a:gd name="T61" fmla="*/ 902 h 2250"/>
                <a:gd name="T62" fmla="*/ 1455 w 2195"/>
                <a:gd name="T63" fmla="*/ 1399 h 2250"/>
                <a:gd name="T64" fmla="*/ 2040 w 2195"/>
                <a:gd name="T65" fmla="*/ 382 h 2250"/>
                <a:gd name="T66" fmla="*/ 1876 w 2195"/>
                <a:gd name="T67" fmla="*/ 979 h 2250"/>
                <a:gd name="T68" fmla="*/ 1866 w 2195"/>
                <a:gd name="T69" fmla="*/ 990 h 2250"/>
                <a:gd name="T70" fmla="*/ 1725 w 2195"/>
                <a:gd name="T71" fmla="*/ 1351 h 2250"/>
                <a:gd name="T72" fmla="*/ 1725 w 2195"/>
                <a:gd name="T73" fmla="*/ 2175 h 2250"/>
                <a:gd name="T74" fmla="*/ 1876 w 2195"/>
                <a:gd name="T75" fmla="*/ 2122 h 2250"/>
                <a:gd name="T76" fmla="*/ 1876 w 2195"/>
                <a:gd name="T77" fmla="*/ 979 h 2250"/>
                <a:gd name="T78" fmla="*/ 1729 w 2195"/>
                <a:gd name="T79" fmla="*/ 533 h 2250"/>
                <a:gd name="T80" fmla="*/ 1855 w 2195"/>
                <a:gd name="T81" fmla="*/ 236 h 2250"/>
                <a:gd name="T82" fmla="*/ 1837 w 2195"/>
                <a:gd name="T83" fmla="*/ 75 h 2250"/>
                <a:gd name="T84" fmla="*/ 1723 w 2195"/>
                <a:gd name="T85" fmla="*/ 77 h 2250"/>
                <a:gd name="T86" fmla="*/ 1928 w 2195"/>
                <a:gd name="T87" fmla="*/ 255 h 2250"/>
                <a:gd name="T88" fmla="*/ 2098 w 2195"/>
                <a:gd name="T89" fmla="*/ 239 h 2250"/>
                <a:gd name="T90" fmla="*/ 1959 w 2195"/>
                <a:gd name="T91" fmla="*/ 185 h 2250"/>
                <a:gd name="T92" fmla="*/ 1425 w 2195"/>
                <a:gd name="T93" fmla="*/ 1466 h 2250"/>
                <a:gd name="T94" fmla="*/ 1400 w 2195"/>
                <a:gd name="T95" fmla="*/ 1727 h 2250"/>
                <a:gd name="T96" fmla="*/ 1425 w 2195"/>
                <a:gd name="T97" fmla="*/ 1466 h 2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95" h="2250">
                  <a:moveTo>
                    <a:pt x="1947" y="85"/>
                  </a:moveTo>
                  <a:cubicBezTo>
                    <a:pt x="1992" y="64"/>
                    <a:pt x="2036" y="56"/>
                    <a:pt x="2081" y="75"/>
                  </a:cubicBezTo>
                  <a:cubicBezTo>
                    <a:pt x="2160" y="107"/>
                    <a:pt x="2195" y="194"/>
                    <a:pt x="2162" y="276"/>
                  </a:cubicBezTo>
                  <a:cubicBezTo>
                    <a:pt x="2094" y="439"/>
                    <a:pt x="2027" y="603"/>
                    <a:pt x="1960" y="767"/>
                  </a:cubicBezTo>
                  <a:cubicBezTo>
                    <a:pt x="1954" y="780"/>
                    <a:pt x="1951" y="795"/>
                    <a:pt x="1951" y="809"/>
                  </a:cubicBezTo>
                  <a:cubicBezTo>
                    <a:pt x="1951" y="1246"/>
                    <a:pt x="1951" y="1684"/>
                    <a:pt x="1951" y="2121"/>
                  </a:cubicBezTo>
                  <a:cubicBezTo>
                    <a:pt x="1951" y="2139"/>
                    <a:pt x="1949" y="2157"/>
                    <a:pt x="1944" y="2174"/>
                  </a:cubicBezTo>
                  <a:cubicBezTo>
                    <a:pt x="1931" y="2218"/>
                    <a:pt x="1892" y="2247"/>
                    <a:pt x="1846" y="2249"/>
                  </a:cubicBezTo>
                  <a:cubicBezTo>
                    <a:pt x="1842" y="2250"/>
                    <a:pt x="1838" y="2250"/>
                    <a:pt x="1834" y="2250"/>
                  </a:cubicBezTo>
                  <a:cubicBezTo>
                    <a:pt x="1262" y="2250"/>
                    <a:pt x="690" y="2250"/>
                    <a:pt x="118" y="2249"/>
                  </a:cubicBezTo>
                  <a:cubicBezTo>
                    <a:pt x="103" y="2249"/>
                    <a:pt x="87" y="2247"/>
                    <a:pt x="73" y="2243"/>
                  </a:cubicBezTo>
                  <a:cubicBezTo>
                    <a:pt x="29" y="2228"/>
                    <a:pt x="1" y="2187"/>
                    <a:pt x="0" y="2138"/>
                  </a:cubicBezTo>
                  <a:cubicBezTo>
                    <a:pt x="0" y="2086"/>
                    <a:pt x="0" y="2034"/>
                    <a:pt x="0" y="1982"/>
                  </a:cubicBezTo>
                  <a:cubicBezTo>
                    <a:pt x="0" y="1364"/>
                    <a:pt x="0" y="746"/>
                    <a:pt x="0" y="128"/>
                  </a:cubicBezTo>
                  <a:cubicBezTo>
                    <a:pt x="0" y="111"/>
                    <a:pt x="2" y="94"/>
                    <a:pt x="6" y="79"/>
                  </a:cubicBezTo>
                  <a:cubicBezTo>
                    <a:pt x="18" y="34"/>
                    <a:pt x="59" y="3"/>
                    <a:pt x="106" y="1"/>
                  </a:cubicBezTo>
                  <a:cubicBezTo>
                    <a:pt x="115" y="0"/>
                    <a:pt x="123" y="0"/>
                    <a:pt x="132" y="0"/>
                  </a:cubicBezTo>
                  <a:cubicBezTo>
                    <a:pt x="694" y="0"/>
                    <a:pt x="1256" y="1"/>
                    <a:pt x="1818" y="0"/>
                  </a:cubicBezTo>
                  <a:cubicBezTo>
                    <a:pt x="1882" y="0"/>
                    <a:pt x="1926" y="21"/>
                    <a:pt x="1947" y="85"/>
                  </a:cubicBezTo>
                  <a:close/>
                  <a:moveTo>
                    <a:pt x="1576" y="902"/>
                  </a:moveTo>
                  <a:cubicBezTo>
                    <a:pt x="1579" y="896"/>
                    <a:pt x="1582" y="891"/>
                    <a:pt x="1585" y="885"/>
                  </a:cubicBezTo>
                  <a:cubicBezTo>
                    <a:pt x="1605" y="838"/>
                    <a:pt x="1625" y="791"/>
                    <a:pt x="1644" y="743"/>
                  </a:cubicBezTo>
                  <a:cubicBezTo>
                    <a:pt x="1648" y="732"/>
                    <a:pt x="1650" y="720"/>
                    <a:pt x="1651" y="708"/>
                  </a:cubicBezTo>
                  <a:cubicBezTo>
                    <a:pt x="1651" y="514"/>
                    <a:pt x="1651" y="320"/>
                    <a:pt x="1651" y="126"/>
                  </a:cubicBezTo>
                  <a:cubicBezTo>
                    <a:pt x="1651" y="85"/>
                    <a:pt x="1641" y="75"/>
                    <a:pt x="1600" y="75"/>
                  </a:cubicBezTo>
                  <a:cubicBezTo>
                    <a:pt x="1109" y="75"/>
                    <a:pt x="618" y="75"/>
                    <a:pt x="126" y="75"/>
                  </a:cubicBezTo>
                  <a:cubicBezTo>
                    <a:pt x="85" y="75"/>
                    <a:pt x="76" y="85"/>
                    <a:pt x="76" y="126"/>
                  </a:cubicBezTo>
                  <a:cubicBezTo>
                    <a:pt x="76" y="792"/>
                    <a:pt x="76" y="1459"/>
                    <a:pt x="76" y="2125"/>
                  </a:cubicBezTo>
                  <a:cubicBezTo>
                    <a:pt x="76" y="2165"/>
                    <a:pt x="86" y="2175"/>
                    <a:pt x="126" y="2175"/>
                  </a:cubicBezTo>
                  <a:cubicBezTo>
                    <a:pt x="617" y="2175"/>
                    <a:pt x="1108" y="2175"/>
                    <a:pt x="1599" y="2175"/>
                  </a:cubicBezTo>
                  <a:cubicBezTo>
                    <a:pt x="1640" y="2175"/>
                    <a:pt x="1651" y="2165"/>
                    <a:pt x="1651" y="2124"/>
                  </a:cubicBezTo>
                  <a:cubicBezTo>
                    <a:pt x="1651" y="1929"/>
                    <a:pt x="1651" y="1734"/>
                    <a:pt x="1651" y="1538"/>
                  </a:cubicBezTo>
                  <a:cubicBezTo>
                    <a:pt x="1651" y="1533"/>
                    <a:pt x="1650" y="1528"/>
                    <a:pt x="1649" y="1519"/>
                  </a:cubicBezTo>
                  <a:cubicBezTo>
                    <a:pt x="1640" y="1537"/>
                    <a:pt x="1633" y="1554"/>
                    <a:pt x="1623" y="1567"/>
                  </a:cubicBezTo>
                  <a:cubicBezTo>
                    <a:pt x="1540" y="1676"/>
                    <a:pt x="1456" y="1784"/>
                    <a:pt x="1373" y="1892"/>
                  </a:cubicBezTo>
                  <a:cubicBezTo>
                    <a:pt x="1370" y="1895"/>
                    <a:pt x="1367" y="1900"/>
                    <a:pt x="1364" y="1902"/>
                  </a:cubicBezTo>
                  <a:cubicBezTo>
                    <a:pt x="1350" y="1914"/>
                    <a:pt x="1335" y="1921"/>
                    <a:pt x="1318" y="1911"/>
                  </a:cubicBezTo>
                  <a:cubicBezTo>
                    <a:pt x="1302" y="1902"/>
                    <a:pt x="1296" y="1888"/>
                    <a:pt x="1298" y="1869"/>
                  </a:cubicBezTo>
                  <a:cubicBezTo>
                    <a:pt x="1307" y="1806"/>
                    <a:pt x="1315" y="1744"/>
                    <a:pt x="1323" y="1681"/>
                  </a:cubicBezTo>
                  <a:cubicBezTo>
                    <a:pt x="1331" y="1622"/>
                    <a:pt x="1338" y="1562"/>
                    <a:pt x="1346" y="1500"/>
                  </a:cubicBezTo>
                  <a:cubicBezTo>
                    <a:pt x="947" y="1500"/>
                    <a:pt x="550" y="1500"/>
                    <a:pt x="152" y="1500"/>
                  </a:cubicBezTo>
                  <a:cubicBezTo>
                    <a:pt x="152" y="1474"/>
                    <a:pt x="152" y="1450"/>
                    <a:pt x="152" y="1425"/>
                  </a:cubicBezTo>
                  <a:cubicBezTo>
                    <a:pt x="162" y="1425"/>
                    <a:pt x="170" y="1425"/>
                    <a:pt x="177" y="1425"/>
                  </a:cubicBezTo>
                  <a:cubicBezTo>
                    <a:pt x="564" y="1425"/>
                    <a:pt x="951" y="1425"/>
                    <a:pt x="1337" y="1425"/>
                  </a:cubicBezTo>
                  <a:cubicBezTo>
                    <a:pt x="1343" y="1425"/>
                    <a:pt x="1348" y="1426"/>
                    <a:pt x="1353" y="1425"/>
                  </a:cubicBezTo>
                  <a:cubicBezTo>
                    <a:pt x="1357" y="1424"/>
                    <a:pt x="1363" y="1421"/>
                    <a:pt x="1364" y="1418"/>
                  </a:cubicBezTo>
                  <a:cubicBezTo>
                    <a:pt x="1373" y="1397"/>
                    <a:pt x="1382" y="1374"/>
                    <a:pt x="1392" y="1349"/>
                  </a:cubicBezTo>
                  <a:cubicBezTo>
                    <a:pt x="976" y="1349"/>
                    <a:pt x="564" y="1349"/>
                    <a:pt x="152" y="1349"/>
                  </a:cubicBezTo>
                  <a:cubicBezTo>
                    <a:pt x="152" y="1323"/>
                    <a:pt x="152" y="1300"/>
                    <a:pt x="152" y="1275"/>
                  </a:cubicBezTo>
                  <a:cubicBezTo>
                    <a:pt x="162" y="1275"/>
                    <a:pt x="172" y="1275"/>
                    <a:pt x="181" y="1275"/>
                  </a:cubicBezTo>
                  <a:cubicBezTo>
                    <a:pt x="586" y="1275"/>
                    <a:pt x="991" y="1275"/>
                    <a:pt x="1397" y="1275"/>
                  </a:cubicBezTo>
                  <a:cubicBezTo>
                    <a:pt x="1403" y="1275"/>
                    <a:pt x="1410" y="1276"/>
                    <a:pt x="1417" y="1275"/>
                  </a:cubicBezTo>
                  <a:cubicBezTo>
                    <a:pt x="1421" y="1274"/>
                    <a:pt x="1426" y="1271"/>
                    <a:pt x="1428" y="1268"/>
                  </a:cubicBezTo>
                  <a:cubicBezTo>
                    <a:pt x="1437" y="1247"/>
                    <a:pt x="1445" y="1225"/>
                    <a:pt x="1456" y="1199"/>
                  </a:cubicBezTo>
                  <a:cubicBezTo>
                    <a:pt x="1193" y="1199"/>
                    <a:pt x="935" y="1199"/>
                    <a:pt x="677" y="1199"/>
                  </a:cubicBezTo>
                  <a:cubicBezTo>
                    <a:pt x="677" y="1173"/>
                    <a:pt x="677" y="1150"/>
                    <a:pt x="677" y="1125"/>
                  </a:cubicBezTo>
                  <a:cubicBezTo>
                    <a:pt x="687" y="1125"/>
                    <a:pt x="694" y="1125"/>
                    <a:pt x="702" y="1125"/>
                  </a:cubicBezTo>
                  <a:cubicBezTo>
                    <a:pt x="957" y="1125"/>
                    <a:pt x="1212" y="1125"/>
                    <a:pt x="1466" y="1125"/>
                  </a:cubicBezTo>
                  <a:cubicBezTo>
                    <a:pt x="1480" y="1125"/>
                    <a:pt x="1487" y="1122"/>
                    <a:pt x="1493" y="1108"/>
                  </a:cubicBezTo>
                  <a:cubicBezTo>
                    <a:pt x="1508" y="1068"/>
                    <a:pt x="1526" y="1028"/>
                    <a:pt x="1542" y="988"/>
                  </a:cubicBezTo>
                  <a:cubicBezTo>
                    <a:pt x="1554" y="959"/>
                    <a:pt x="1565" y="930"/>
                    <a:pt x="1576" y="901"/>
                  </a:cubicBezTo>
                  <a:lnTo>
                    <a:pt x="1576" y="902"/>
                  </a:lnTo>
                  <a:close/>
                  <a:moveTo>
                    <a:pt x="1902" y="326"/>
                  </a:moveTo>
                  <a:cubicBezTo>
                    <a:pt x="1752" y="685"/>
                    <a:pt x="1604" y="1041"/>
                    <a:pt x="1455" y="1399"/>
                  </a:cubicBezTo>
                  <a:cubicBezTo>
                    <a:pt x="1502" y="1418"/>
                    <a:pt x="1548" y="1436"/>
                    <a:pt x="1594" y="1455"/>
                  </a:cubicBezTo>
                  <a:cubicBezTo>
                    <a:pt x="1743" y="1096"/>
                    <a:pt x="1892" y="740"/>
                    <a:pt x="2040" y="382"/>
                  </a:cubicBezTo>
                  <a:cubicBezTo>
                    <a:pt x="1994" y="363"/>
                    <a:pt x="1949" y="345"/>
                    <a:pt x="1902" y="326"/>
                  </a:cubicBezTo>
                  <a:close/>
                  <a:moveTo>
                    <a:pt x="1876" y="979"/>
                  </a:moveTo>
                  <a:cubicBezTo>
                    <a:pt x="1875" y="978"/>
                    <a:pt x="1873" y="978"/>
                    <a:pt x="1872" y="978"/>
                  </a:cubicBezTo>
                  <a:cubicBezTo>
                    <a:pt x="1870" y="982"/>
                    <a:pt x="1868" y="986"/>
                    <a:pt x="1866" y="990"/>
                  </a:cubicBezTo>
                  <a:cubicBezTo>
                    <a:pt x="1821" y="1100"/>
                    <a:pt x="1775" y="1210"/>
                    <a:pt x="1730" y="1320"/>
                  </a:cubicBezTo>
                  <a:cubicBezTo>
                    <a:pt x="1727" y="1330"/>
                    <a:pt x="1725" y="1341"/>
                    <a:pt x="1725" y="1351"/>
                  </a:cubicBezTo>
                  <a:cubicBezTo>
                    <a:pt x="1725" y="1591"/>
                    <a:pt x="1725" y="1831"/>
                    <a:pt x="1725" y="2071"/>
                  </a:cubicBezTo>
                  <a:cubicBezTo>
                    <a:pt x="1725" y="2105"/>
                    <a:pt x="1725" y="2138"/>
                    <a:pt x="1725" y="2175"/>
                  </a:cubicBezTo>
                  <a:cubicBezTo>
                    <a:pt x="1755" y="2175"/>
                    <a:pt x="1789" y="2175"/>
                    <a:pt x="1823" y="2175"/>
                  </a:cubicBezTo>
                  <a:cubicBezTo>
                    <a:pt x="1866" y="2175"/>
                    <a:pt x="1876" y="2165"/>
                    <a:pt x="1876" y="2122"/>
                  </a:cubicBezTo>
                  <a:cubicBezTo>
                    <a:pt x="1876" y="1747"/>
                    <a:pt x="1876" y="1372"/>
                    <a:pt x="1876" y="997"/>
                  </a:cubicBezTo>
                  <a:cubicBezTo>
                    <a:pt x="1876" y="991"/>
                    <a:pt x="1876" y="985"/>
                    <a:pt x="1876" y="979"/>
                  </a:cubicBezTo>
                  <a:close/>
                  <a:moveTo>
                    <a:pt x="1723" y="531"/>
                  </a:moveTo>
                  <a:cubicBezTo>
                    <a:pt x="1725" y="532"/>
                    <a:pt x="1727" y="532"/>
                    <a:pt x="1729" y="533"/>
                  </a:cubicBezTo>
                  <a:cubicBezTo>
                    <a:pt x="1732" y="527"/>
                    <a:pt x="1735" y="521"/>
                    <a:pt x="1737" y="515"/>
                  </a:cubicBezTo>
                  <a:cubicBezTo>
                    <a:pt x="1776" y="422"/>
                    <a:pt x="1813" y="328"/>
                    <a:pt x="1855" y="236"/>
                  </a:cubicBezTo>
                  <a:cubicBezTo>
                    <a:pt x="1873" y="196"/>
                    <a:pt x="1878" y="156"/>
                    <a:pt x="1876" y="114"/>
                  </a:cubicBezTo>
                  <a:cubicBezTo>
                    <a:pt x="1874" y="89"/>
                    <a:pt x="1862" y="76"/>
                    <a:pt x="1837" y="75"/>
                  </a:cubicBezTo>
                  <a:cubicBezTo>
                    <a:pt x="1801" y="75"/>
                    <a:pt x="1765" y="75"/>
                    <a:pt x="1729" y="75"/>
                  </a:cubicBezTo>
                  <a:cubicBezTo>
                    <a:pt x="1726" y="75"/>
                    <a:pt x="1723" y="77"/>
                    <a:pt x="1723" y="77"/>
                  </a:cubicBezTo>
                  <a:cubicBezTo>
                    <a:pt x="1723" y="230"/>
                    <a:pt x="1723" y="381"/>
                    <a:pt x="1723" y="531"/>
                  </a:cubicBezTo>
                  <a:close/>
                  <a:moveTo>
                    <a:pt x="1928" y="255"/>
                  </a:moveTo>
                  <a:cubicBezTo>
                    <a:pt x="1975" y="274"/>
                    <a:pt x="2020" y="292"/>
                    <a:pt x="2067" y="311"/>
                  </a:cubicBezTo>
                  <a:cubicBezTo>
                    <a:pt x="2078" y="286"/>
                    <a:pt x="2090" y="263"/>
                    <a:pt x="2098" y="239"/>
                  </a:cubicBezTo>
                  <a:cubicBezTo>
                    <a:pt x="2112" y="201"/>
                    <a:pt x="2090" y="159"/>
                    <a:pt x="2050" y="144"/>
                  </a:cubicBezTo>
                  <a:cubicBezTo>
                    <a:pt x="2012" y="130"/>
                    <a:pt x="1977" y="145"/>
                    <a:pt x="1959" y="185"/>
                  </a:cubicBezTo>
                  <a:cubicBezTo>
                    <a:pt x="1949" y="207"/>
                    <a:pt x="1939" y="230"/>
                    <a:pt x="1928" y="255"/>
                  </a:cubicBezTo>
                  <a:close/>
                  <a:moveTo>
                    <a:pt x="1425" y="1466"/>
                  </a:moveTo>
                  <a:cubicBezTo>
                    <a:pt x="1416" y="1555"/>
                    <a:pt x="1406" y="1640"/>
                    <a:pt x="1396" y="1725"/>
                  </a:cubicBezTo>
                  <a:cubicBezTo>
                    <a:pt x="1398" y="1726"/>
                    <a:pt x="1399" y="1726"/>
                    <a:pt x="1400" y="1727"/>
                  </a:cubicBezTo>
                  <a:cubicBezTo>
                    <a:pt x="1454" y="1659"/>
                    <a:pt x="1509" y="1591"/>
                    <a:pt x="1564" y="1522"/>
                  </a:cubicBezTo>
                  <a:cubicBezTo>
                    <a:pt x="1517" y="1503"/>
                    <a:pt x="1473" y="1486"/>
                    <a:pt x="1425" y="1466"/>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2" name="Freeform 7">
              <a:extLst>
                <a:ext uri="{FF2B5EF4-FFF2-40B4-BE49-F238E27FC236}">
                  <a16:creationId xmlns:a16="http://schemas.microsoft.com/office/drawing/2014/main" id="{E76DBD3D-2089-0448-B81B-F77605DFE5D8}"/>
                </a:ext>
              </a:extLst>
            </p:cNvPr>
            <p:cNvSpPr>
              <a:spLocks/>
            </p:cNvSpPr>
            <p:nvPr/>
          </p:nvSpPr>
          <p:spPr bwMode="auto">
            <a:xfrm>
              <a:off x="2276475" y="1644650"/>
              <a:ext cx="676275" cy="1347788"/>
            </a:xfrm>
            <a:custGeom>
              <a:avLst/>
              <a:gdLst>
                <a:gd name="T0" fmla="*/ 333 w 488"/>
                <a:gd name="T1" fmla="*/ 973 h 973"/>
                <a:gd name="T2" fmla="*/ 182 w 488"/>
                <a:gd name="T3" fmla="*/ 973 h 973"/>
                <a:gd name="T4" fmla="*/ 183 w 488"/>
                <a:gd name="T5" fmla="*/ 869 h 973"/>
                <a:gd name="T6" fmla="*/ 163 w 488"/>
                <a:gd name="T7" fmla="*/ 838 h 973"/>
                <a:gd name="T8" fmla="*/ 40 w 488"/>
                <a:gd name="T9" fmla="*/ 692 h 973"/>
                <a:gd name="T10" fmla="*/ 37 w 488"/>
                <a:gd name="T11" fmla="*/ 674 h 973"/>
                <a:gd name="T12" fmla="*/ 186 w 488"/>
                <a:gd name="T13" fmla="*/ 675 h 973"/>
                <a:gd name="T14" fmla="*/ 200 w 488"/>
                <a:gd name="T15" fmla="*/ 684 h 973"/>
                <a:gd name="T16" fmla="*/ 290 w 488"/>
                <a:gd name="T17" fmla="*/ 704 h 973"/>
                <a:gd name="T18" fmla="*/ 331 w 488"/>
                <a:gd name="T19" fmla="*/ 622 h 973"/>
                <a:gd name="T20" fmla="*/ 259 w 488"/>
                <a:gd name="T21" fmla="*/ 562 h 973"/>
                <a:gd name="T22" fmla="*/ 56 w 488"/>
                <a:gd name="T23" fmla="*/ 436 h 973"/>
                <a:gd name="T24" fmla="*/ 166 w 488"/>
                <a:gd name="T25" fmla="*/ 134 h 973"/>
                <a:gd name="T26" fmla="*/ 183 w 488"/>
                <a:gd name="T27" fmla="*/ 107 h 973"/>
                <a:gd name="T28" fmla="*/ 182 w 488"/>
                <a:gd name="T29" fmla="*/ 0 h 973"/>
                <a:gd name="T30" fmla="*/ 333 w 488"/>
                <a:gd name="T31" fmla="*/ 0 h 973"/>
                <a:gd name="T32" fmla="*/ 333 w 488"/>
                <a:gd name="T33" fmla="*/ 108 h 973"/>
                <a:gd name="T34" fmla="*/ 349 w 488"/>
                <a:gd name="T35" fmla="*/ 133 h 973"/>
                <a:gd name="T36" fmla="*/ 479 w 488"/>
                <a:gd name="T37" fmla="*/ 299 h 973"/>
                <a:gd name="T38" fmla="*/ 329 w 488"/>
                <a:gd name="T39" fmla="*/ 299 h 973"/>
                <a:gd name="T40" fmla="*/ 315 w 488"/>
                <a:gd name="T41" fmla="*/ 290 h 973"/>
                <a:gd name="T42" fmla="*/ 223 w 488"/>
                <a:gd name="T43" fmla="*/ 270 h 973"/>
                <a:gd name="T44" fmla="*/ 184 w 488"/>
                <a:gd name="T45" fmla="*/ 350 h 973"/>
                <a:gd name="T46" fmla="*/ 258 w 488"/>
                <a:gd name="T47" fmla="*/ 411 h 973"/>
                <a:gd name="T48" fmla="*/ 481 w 488"/>
                <a:gd name="T49" fmla="*/ 649 h 973"/>
                <a:gd name="T50" fmla="*/ 352 w 488"/>
                <a:gd name="T51" fmla="*/ 838 h 973"/>
                <a:gd name="T52" fmla="*/ 333 w 488"/>
                <a:gd name="T53" fmla="*/ 869 h 973"/>
                <a:gd name="T54" fmla="*/ 333 w 488"/>
                <a:gd name="T55" fmla="*/ 973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8" h="973">
                  <a:moveTo>
                    <a:pt x="333" y="973"/>
                  </a:moveTo>
                  <a:cubicBezTo>
                    <a:pt x="282" y="973"/>
                    <a:pt x="233" y="973"/>
                    <a:pt x="182" y="973"/>
                  </a:cubicBezTo>
                  <a:cubicBezTo>
                    <a:pt x="182" y="938"/>
                    <a:pt x="182" y="904"/>
                    <a:pt x="183" y="869"/>
                  </a:cubicBezTo>
                  <a:cubicBezTo>
                    <a:pt x="183" y="854"/>
                    <a:pt x="179" y="845"/>
                    <a:pt x="163" y="838"/>
                  </a:cubicBezTo>
                  <a:cubicBezTo>
                    <a:pt x="99" y="809"/>
                    <a:pt x="59" y="759"/>
                    <a:pt x="40" y="692"/>
                  </a:cubicBezTo>
                  <a:cubicBezTo>
                    <a:pt x="39" y="687"/>
                    <a:pt x="38" y="682"/>
                    <a:pt x="37" y="674"/>
                  </a:cubicBezTo>
                  <a:cubicBezTo>
                    <a:pt x="88" y="674"/>
                    <a:pt x="137" y="674"/>
                    <a:pt x="186" y="675"/>
                  </a:cubicBezTo>
                  <a:cubicBezTo>
                    <a:pt x="191" y="675"/>
                    <a:pt x="196" y="680"/>
                    <a:pt x="200" y="684"/>
                  </a:cubicBezTo>
                  <a:cubicBezTo>
                    <a:pt x="225" y="712"/>
                    <a:pt x="259" y="719"/>
                    <a:pt x="290" y="704"/>
                  </a:cubicBezTo>
                  <a:cubicBezTo>
                    <a:pt x="321" y="688"/>
                    <a:pt x="337" y="656"/>
                    <a:pt x="331" y="622"/>
                  </a:cubicBezTo>
                  <a:cubicBezTo>
                    <a:pt x="324" y="587"/>
                    <a:pt x="296" y="564"/>
                    <a:pt x="259" y="562"/>
                  </a:cubicBezTo>
                  <a:cubicBezTo>
                    <a:pt x="167" y="557"/>
                    <a:pt x="97" y="519"/>
                    <a:pt x="56" y="436"/>
                  </a:cubicBezTo>
                  <a:cubicBezTo>
                    <a:pt x="0" y="321"/>
                    <a:pt x="49" y="185"/>
                    <a:pt x="166" y="134"/>
                  </a:cubicBezTo>
                  <a:cubicBezTo>
                    <a:pt x="179" y="128"/>
                    <a:pt x="183" y="121"/>
                    <a:pt x="183" y="107"/>
                  </a:cubicBezTo>
                  <a:cubicBezTo>
                    <a:pt x="182" y="72"/>
                    <a:pt x="182" y="37"/>
                    <a:pt x="182" y="0"/>
                  </a:cubicBezTo>
                  <a:cubicBezTo>
                    <a:pt x="233" y="0"/>
                    <a:pt x="282" y="0"/>
                    <a:pt x="333" y="0"/>
                  </a:cubicBezTo>
                  <a:cubicBezTo>
                    <a:pt x="333" y="37"/>
                    <a:pt x="333" y="72"/>
                    <a:pt x="333" y="108"/>
                  </a:cubicBezTo>
                  <a:cubicBezTo>
                    <a:pt x="332" y="121"/>
                    <a:pt x="336" y="128"/>
                    <a:pt x="349" y="133"/>
                  </a:cubicBezTo>
                  <a:cubicBezTo>
                    <a:pt x="420" y="165"/>
                    <a:pt x="462" y="221"/>
                    <a:pt x="479" y="299"/>
                  </a:cubicBezTo>
                  <a:cubicBezTo>
                    <a:pt x="428" y="299"/>
                    <a:pt x="378" y="299"/>
                    <a:pt x="329" y="299"/>
                  </a:cubicBezTo>
                  <a:cubicBezTo>
                    <a:pt x="324" y="298"/>
                    <a:pt x="319" y="294"/>
                    <a:pt x="315" y="290"/>
                  </a:cubicBezTo>
                  <a:cubicBezTo>
                    <a:pt x="290" y="261"/>
                    <a:pt x="255" y="254"/>
                    <a:pt x="223" y="270"/>
                  </a:cubicBezTo>
                  <a:cubicBezTo>
                    <a:pt x="194" y="285"/>
                    <a:pt x="177" y="319"/>
                    <a:pt x="184" y="350"/>
                  </a:cubicBezTo>
                  <a:cubicBezTo>
                    <a:pt x="191" y="386"/>
                    <a:pt x="220" y="410"/>
                    <a:pt x="258" y="411"/>
                  </a:cubicBezTo>
                  <a:cubicBezTo>
                    <a:pt x="392" y="416"/>
                    <a:pt x="488" y="516"/>
                    <a:pt x="481" y="649"/>
                  </a:cubicBezTo>
                  <a:cubicBezTo>
                    <a:pt x="477" y="737"/>
                    <a:pt x="431" y="800"/>
                    <a:pt x="352" y="838"/>
                  </a:cubicBezTo>
                  <a:cubicBezTo>
                    <a:pt x="336" y="845"/>
                    <a:pt x="332" y="854"/>
                    <a:pt x="333" y="869"/>
                  </a:cubicBezTo>
                  <a:cubicBezTo>
                    <a:pt x="333" y="903"/>
                    <a:pt x="333" y="937"/>
                    <a:pt x="333" y="973"/>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3" name="Freeform 8">
              <a:extLst>
                <a:ext uri="{FF2B5EF4-FFF2-40B4-BE49-F238E27FC236}">
                  <a16:creationId xmlns:a16="http://schemas.microsoft.com/office/drawing/2014/main" id="{035C0240-47F6-2E43-B77E-D8284B2385DA}"/>
                </a:ext>
              </a:extLst>
            </p:cNvPr>
            <p:cNvSpPr>
              <a:spLocks/>
            </p:cNvSpPr>
            <p:nvPr/>
          </p:nvSpPr>
          <p:spPr bwMode="auto">
            <a:xfrm>
              <a:off x="2324100" y="3513138"/>
              <a:ext cx="1450975" cy="100013"/>
            </a:xfrm>
            <a:custGeom>
              <a:avLst/>
              <a:gdLst>
                <a:gd name="T0" fmla="*/ 1047 w 1047"/>
                <a:gd name="T1" fmla="*/ 0 h 72"/>
                <a:gd name="T2" fmla="*/ 1047 w 1047"/>
                <a:gd name="T3" fmla="*/ 72 h 72"/>
                <a:gd name="T4" fmla="*/ 0 w 1047"/>
                <a:gd name="T5" fmla="*/ 72 h 72"/>
                <a:gd name="T6" fmla="*/ 0 w 1047"/>
                <a:gd name="T7" fmla="*/ 0 h 72"/>
                <a:gd name="T8" fmla="*/ 1047 w 1047"/>
                <a:gd name="T9" fmla="*/ 0 h 72"/>
              </a:gdLst>
              <a:ahLst/>
              <a:cxnLst>
                <a:cxn ang="0">
                  <a:pos x="T0" y="T1"/>
                </a:cxn>
                <a:cxn ang="0">
                  <a:pos x="T2" y="T3"/>
                </a:cxn>
                <a:cxn ang="0">
                  <a:pos x="T4" y="T5"/>
                </a:cxn>
                <a:cxn ang="0">
                  <a:pos x="T6" y="T7"/>
                </a:cxn>
                <a:cxn ang="0">
                  <a:pos x="T8" y="T9"/>
                </a:cxn>
              </a:cxnLst>
              <a:rect l="0" t="0" r="r" b="b"/>
              <a:pathLst>
                <a:path w="1047" h="72">
                  <a:moveTo>
                    <a:pt x="1047" y="0"/>
                  </a:moveTo>
                  <a:cubicBezTo>
                    <a:pt x="1047" y="25"/>
                    <a:pt x="1047" y="48"/>
                    <a:pt x="1047" y="72"/>
                  </a:cubicBezTo>
                  <a:cubicBezTo>
                    <a:pt x="698" y="72"/>
                    <a:pt x="350" y="72"/>
                    <a:pt x="0" y="72"/>
                  </a:cubicBezTo>
                  <a:cubicBezTo>
                    <a:pt x="0" y="49"/>
                    <a:pt x="0" y="25"/>
                    <a:pt x="0" y="0"/>
                  </a:cubicBezTo>
                  <a:cubicBezTo>
                    <a:pt x="349" y="0"/>
                    <a:pt x="697" y="0"/>
                    <a:pt x="1047" y="0"/>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4" name="Freeform 9">
              <a:extLst>
                <a:ext uri="{FF2B5EF4-FFF2-40B4-BE49-F238E27FC236}">
                  <a16:creationId xmlns:a16="http://schemas.microsoft.com/office/drawing/2014/main" id="{BE00F73C-E4E1-A24B-BD8C-90F2BE01B70E}"/>
                </a:ext>
              </a:extLst>
            </p:cNvPr>
            <p:cNvSpPr>
              <a:spLocks/>
            </p:cNvSpPr>
            <p:nvPr/>
          </p:nvSpPr>
          <p:spPr bwMode="auto">
            <a:xfrm>
              <a:off x="3051175" y="2474913"/>
              <a:ext cx="1247775" cy="106363"/>
            </a:xfrm>
            <a:custGeom>
              <a:avLst/>
              <a:gdLst>
                <a:gd name="T0" fmla="*/ 899 w 899"/>
                <a:gd name="T1" fmla="*/ 75 h 76"/>
                <a:gd name="T2" fmla="*/ 877 w 899"/>
                <a:gd name="T3" fmla="*/ 74 h 76"/>
                <a:gd name="T4" fmla="*/ 25 w 899"/>
                <a:gd name="T5" fmla="*/ 74 h 76"/>
                <a:gd name="T6" fmla="*/ 0 w 899"/>
                <a:gd name="T7" fmla="*/ 74 h 76"/>
                <a:gd name="T8" fmla="*/ 0 w 899"/>
                <a:gd name="T9" fmla="*/ 0 h 76"/>
                <a:gd name="T10" fmla="*/ 899 w 899"/>
                <a:gd name="T11" fmla="*/ 0 h 76"/>
                <a:gd name="T12" fmla="*/ 899 w 899"/>
                <a:gd name="T13" fmla="*/ 76 h 76"/>
                <a:gd name="T14" fmla="*/ 899 w 899"/>
                <a:gd name="T15" fmla="*/ 75 h 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9" h="76">
                  <a:moveTo>
                    <a:pt x="899" y="75"/>
                  </a:moveTo>
                  <a:cubicBezTo>
                    <a:pt x="892" y="75"/>
                    <a:pt x="885" y="74"/>
                    <a:pt x="877" y="74"/>
                  </a:cubicBezTo>
                  <a:cubicBezTo>
                    <a:pt x="593" y="74"/>
                    <a:pt x="309" y="74"/>
                    <a:pt x="25" y="74"/>
                  </a:cubicBezTo>
                  <a:cubicBezTo>
                    <a:pt x="17" y="74"/>
                    <a:pt x="10" y="74"/>
                    <a:pt x="0" y="74"/>
                  </a:cubicBezTo>
                  <a:cubicBezTo>
                    <a:pt x="0" y="49"/>
                    <a:pt x="0" y="26"/>
                    <a:pt x="0" y="0"/>
                  </a:cubicBezTo>
                  <a:cubicBezTo>
                    <a:pt x="299" y="0"/>
                    <a:pt x="597" y="0"/>
                    <a:pt x="899" y="0"/>
                  </a:cubicBezTo>
                  <a:cubicBezTo>
                    <a:pt x="899" y="26"/>
                    <a:pt x="899" y="51"/>
                    <a:pt x="899" y="76"/>
                  </a:cubicBezTo>
                  <a:cubicBezTo>
                    <a:pt x="899" y="76"/>
                    <a:pt x="899" y="75"/>
                    <a:pt x="899" y="75"/>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5" name="Freeform 10">
              <a:extLst>
                <a:ext uri="{FF2B5EF4-FFF2-40B4-BE49-F238E27FC236}">
                  <a16:creationId xmlns:a16="http://schemas.microsoft.com/office/drawing/2014/main" id="{89353910-043D-014F-B075-1620F6439FB1}"/>
                </a:ext>
              </a:extLst>
            </p:cNvPr>
            <p:cNvSpPr>
              <a:spLocks/>
            </p:cNvSpPr>
            <p:nvPr/>
          </p:nvSpPr>
          <p:spPr bwMode="auto">
            <a:xfrm>
              <a:off x="3051175" y="1852613"/>
              <a:ext cx="1246188" cy="100013"/>
            </a:xfrm>
            <a:custGeom>
              <a:avLst/>
              <a:gdLst>
                <a:gd name="T0" fmla="*/ 0 w 899"/>
                <a:gd name="T1" fmla="*/ 72 h 72"/>
                <a:gd name="T2" fmla="*/ 0 w 899"/>
                <a:gd name="T3" fmla="*/ 0 h 72"/>
                <a:gd name="T4" fmla="*/ 899 w 899"/>
                <a:gd name="T5" fmla="*/ 0 h 72"/>
                <a:gd name="T6" fmla="*/ 899 w 899"/>
                <a:gd name="T7" fmla="*/ 72 h 72"/>
                <a:gd name="T8" fmla="*/ 0 w 899"/>
                <a:gd name="T9" fmla="*/ 72 h 72"/>
              </a:gdLst>
              <a:ahLst/>
              <a:cxnLst>
                <a:cxn ang="0">
                  <a:pos x="T0" y="T1"/>
                </a:cxn>
                <a:cxn ang="0">
                  <a:pos x="T2" y="T3"/>
                </a:cxn>
                <a:cxn ang="0">
                  <a:pos x="T4" y="T5"/>
                </a:cxn>
                <a:cxn ang="0">
                  <a:pos x="T6" y="T7"/>
                </a:cxn>
                <a:cxn ang="0">
                  <a:pos x="T8" y="T9"/>
                </a:cxn>
              </a:cxnLst>
              <a:rect l="0" t="0" r="r" b="b"/>
              <a:pathLst>
                <a:path w="899" h="72">
                  <a:moveTo>
                    <a:pt x="0" y="72"/>
                  </a:moveTo>
                  <a:cubicBezTo>
                    <a:pt x="0" y="48"/>
                    <a:pt x="0" y="25"/>
                    <a:pt x="0" y="0"/>
                  </a:cubicBezTo>
                  <a:cubicBezTo>
                    <a:pt x="300" y="0"/>
                    <a:pt x="599" y="0"/>
                    <a:pt x="899" y="0"/>
                  </a:cubicBezTo>
                  <a:cubicBezTo>
                    <a:pt x="899" y="24"/>
                    <a:pt x="899" y="47"/>
                    <a:pt x="899" y="72"/>
                  </a:cubicBezTo>
                  <a:cubicBezTo>
                    <a:pt x="600" y="72"/>
                    <a:pt x="301" y="72"/>
                    <a:pt x="0" y="72"/>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6" name="Freeform 11">
              <a:extLst>
                <a:ext uri="{FF2B5EF4-FFF2-40B4-BE49-F238E27FC236}">
                  <a16:creationId xmlns:a16="http://schemas.microsoft.com/office/drawing/2014/main" id="{B83D6A9F-BCFC-4C49-AFA4-78282C4441DB}"/>
                </a:ext>
              </a:extLst>
            </p:cNvPr>
            <p:cNvSpPr>
              <a:spLocks/>
            </p:cNvSpPr>
            <p:nvPr/>
          </p:nvSpPr>
          <p:spPr bwMode="auto">
            <a:xfrm>
              <a:off x="3051175" y="2268538"/>
              <a:ext cx="1246188" cy="98425"/>
            </a:xfrm>
            <a:custGeom>
              <a:avLst/>
              <a:gdLst>
                <a:gd name="T0" fmla="*/ 0 w 899"/>
                <a:gd name="T1" fmla="*/ 72 h 72"/>
                <a:gd name="T2" fmla="*/ 0 w 899"/>
                <a:gd name="T3" fmla="*/ 0 h 72"/>
                <a:gd name="T4" fmla="*/ 899 w 899"/>
                <a:gd name="T5" fmla="*/ 0 h 72"/>
                <a:gd name="T6" fmla="*/ 899 w 899"/>
                <a:gd name="T7" fmla="*/ 72 h 72"/>
                <a:gd name="T8" fmla="*/ 0 w 899"/>
                <a:gd name="T9" fmla="*/ 72 h 72"/>
              </a:gdLst>
              <a:ahLst/>
              <a:cxnLst>
                <a:cxn ang="0">
                  <a:pos x="T0" y="T1"/>
                </a:cxn>
                <a:cxn ang="0">
                  <a:pos x="T2" y="T3"/>
                </a:cxn>
                <a:cxn ang="0">
                  <a:pos x="T4" y="T5"/>
                </a:cxn>
                <a:cxn ang="0">
                  <a:pos x="T6" y="T7"/>
                </a:cxn>
                <a:cxn ang="0">
                  <a:pos x="T8" y="T9"/>
                </a:cxn>
              </a:cxnLst>
              <a:rect l="0" t="0" r="r" b="b"/>
              <a:pathLst>
                <a:path w="899" h="72">
                  <a:moveTo>
                    <a:pt x="0" y="72"/>
                  </a:moveTo>
                  <a:cubicBezTo>
                    <a:pt x="0" y="48"/>
                    <a:pt x="0" y="25"/>
                    <a:pt x="0" y="0"/>
                  </a:cubicBezTo>
                  <a:cubicBezTo>
                    <a:pt x="300" y="0"/>
                    <a:pt x="599" y="0"/>
                    <a:pt x="899" y="0"/>
                  </a:cubicBezTo>
                  <a:cubicBezTo>
                    <a:pt x="899" y="24"/>
                    <a:pt x="899" y="47"/>
                    <a:pt x="899" y="72"/>
                  </a:cubicBezTo>
                  <a:cubicBezTo>
                    <a:pt x="600" y="72"/>
                    <a:pt x="301" y="72"/>
                    <a:pt x="0" y="72"/>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7" name="Freeform 12">
              <a:extLst>
                <a:ext uri="{FF2B5EF4-FFF2-40B4-BE49-F238E27FC236}">
                  <a16:creationId xmlns:a16="http://schemas.microsoft.com/office/drawing/2014/main" id="{97238F1D-D823-9149-9A1D-926BF3421E94}"/>
                </a:ext>
              </a:extLst>
            </p:cNvPr>
            <p:cNvSpPr>
              <a:spLocks/>
            </p:cNvSpPr>
            <p:nvPr/>
          </p:nvSpPr>
          <p:spPr bwMode="auto">
            <a:xfrm>
              <a:off x="3051175" y="1644650"/>
              <a:ext cx="1139825" cy="101600"/>
            </a:xfrm>
            <a:custGeom>
              <a:avLst/>
              <a:gdLst>
                <a:gd name="T0" fmla="*/ 0 w 823"/>
                <a:gd name="T1" fmla="*/ 73 h 73"/>
                <a:gd name="T2" fmla="*/ 0 w 823"/>
                <a:gd name="T3" fmla="*/ 0 h 73"/>
                <a:gd name="T4" fmla="*/ 823 w 823"/>
                <a:gd name="T5" fmla="*/ 0 h 73"/>
                <a:gd name="T6" fmla="*/ 823 w 823"/>
                <a:gd name="T7" fmla="*/ 73 h 73"/>
                <a:gd name="T8" fmla="*/ 0 w 823"/>
                <a:gd name="T9" fmla="*/ 73 h 73"/>
              </a:gdLst>
              <a:ahLst/>
              <a:cxnLst>
                <a:cxn ang="0">
                  <a:pos x="T0" y="T1"/>
                </a:cxn>
                <a:cxn ang="0">
                  <a:pos x="T2" y="T3"/>
                </a:cxn>
                <a:cxn ang="0">
                  <a:pos x="T4" y="T5"/>
                </a:cxn>
                <a:cxn ang="0">
                  <a:pos x="T6" y="T7"/>
                </a:cxn>
                <a:cxn ang="0">
                  <a:pos x="T8" y="T9"/>
                </a:cxn>
              </a:cxnLst>
              <a:rect l="0" t="0" r="r" b="b"/>
              <a:pathLst>
                <a:path w="823" h="73">
                  <a:moveTo>
                    <a:pt x="0" y="73"/>
                  </a:moveTo>
                  <a:cubicBezTo>
                    <a:pt x="0" y="48"/>
                    <a:pt x="0" y="25"/>
                    <a:pt x="0" y="0"/>
                  </a:cubicBezTo>
                  <a:cubicBezTo>
                    <a:pt x="274" y="0"/>
                    <a:pt x="548" y="0"/>
                    <a:pt x="823" y="0"/>
                  </a:cubicBezTo>
                  <a:cubicBezTo>
                    <a:pt x="823" y="24"/>
                    <a:pt x="823" y="48"/>
                    <a:pt x="823" y="73"/>
                  </a:cubicBezTo>
                  <a:cubicBezTo>
                    <a:pt x="550" y="73"/>
                    <a:pt x="276" y="73"/>
                    <a:pt x="0" y="73"/>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8" name="Freeform 13">
              <a:extLst>
                <a:ext uri="{FF2B5EF4-FFF2-40B4-BE49-F238E27FC236}">
                  <a16:creationId xmlns:a16="http://schemas.microsoft.com/office/drawing/2014/main" id="{0796CD7E-48DB-BA48-B7B4-435C2D40573C}"/>
                </a:ext>
              </a:extLst>
            </p:cNvPr>
            <p:cNvSpPr>
              <a:spLocks/>
            </p:cNvSpPr>
            <p:nvPr/>
          </p:nvSpPr>
          <p:spPr bwMode="auto">
            <a:xfrm>
              <a:off x="3051175" y="2060575"/>
              <a:ext cx="1036638" cy="101600"/>
            </a:xfrm>
            <a:custGeom>
              <a:avLst/>
              <a:gdLst>
                <a:gd name="T0" fmla="*/ 747 w 747"/>
                <a:gd name="T1" fmla="*/ 0 h 73"/>
                <a:gd name="T2" fmla="*/ 747 w 747"/>
                <a:gd name="T3" fmla="*/ 73 h 73"/>
                <a:gd name="T4" fmla="*/ 0 w 747"/>
                <a:gd name="T5" fmla="*/ 73 h 73"/>
                <a:gd name="T6" fmla="*/ 0 w 747"/>
                <a:gd name="T7" fmla="*/ 0 h 73"/>
                <a:gd name="T8" fmla="*/ 747 w 747"/>
                <a:gd name="T9" fmla="*/ 0 h 73"/>
              </a:gdLst>
              <a:ahLst/>
              <a:cxnLst>
                <a:cxn ang="0">
                  <a:pos x="T0" y="T1"/>
                </a:cxn>
                <a:cxn ang="0">
                  <a:pos x="T2" y="T3"/>
                </a:cxn>
                <a:cxn ang="0">
                  <a:pos x="T4" y="T5"/>
                </a:cxn>
                <a:cxn ang="0">
                  <a:pos x="T6" y="T7"/>
                </a:cxn>
                <a:cxn ang="0">
                  <a:pos x="T8" y="T9"/>
                </a:cxn>
              </a:cxnLst>
              <a:rect l="0" t="0" r="r" b="b"/>
              <a:pathLst>
                <a:path w="747" h="73">
                  <a:moveTo>
                    <a:pt x="747" y="0"/>
                  </a:moveTo>
                  <a:cubicBezTo>
                    <a:pt x="747" y="25"/>
                    <a:pt x="747" y="48"/>
                    <a:pt x="747" y="73"/>
                  </a:cubicBezTo>
                  <a:cubicBezTo>
                    <a:pt x="498" y="73"/>
                    <a:pt x="249" y="73"/>
                    <a:pt x="0" y="73"/>
                  </a:cubicBezTo>
                  <a:cubicBezTo>
                    <a:pt x="0" y="49"/>
                    <a:pt x="0" y="25"/>
                    <a:pt x="0" y="0"/>
                  </a:cubicBezTo>
                  <a:cubicBezTo>
                    <a:pt x="249" y="0"/>
                    <a:pt x="498" y="0"/>
                    <a:pt x="747" y="0"/>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39" name="Freeform 14">
              <a:extLst>
                <a:ext uri="{FF2B5EF4-FFF2-40B4-BE49-F238E27FC236}">
                  <a16:creationId xmlns:a16="http://schemas.microsoft.com/office/drawing/2014/main" id="{0547CC46-B513-A140-80DB-95FED63F2C33}"/>
                </a:ext>
              </a:extLst>
            </p:cNvPr>
            <p:cNvSpPr>
              <a:spLocks/>
            </p:cNvSpPr>
            <p:nvPr/>
          </p:nvSpPr>
          <p:spPr bwMode="auto">
            <a:xfrm>
              <a:off x="3051175" y="2682875"/>
              <a:ext cx="1036638" cy="100013"/>
            </a:xfrm>
            <a:custGeom>
              <a:avLst/>
              <a:gdLst>
                <a:gd name="T0" fmla="*/ 0 w 748"/>
                <a:gd name="T1" fmla="*/ 72 h 72"/>
                <a:gd name="T2" fmla="*/ 0 w 748"/>
                <a:gd name="T3" fmla="*/ 0 h 72"/>
                <a:gd name="T4" fmla="*/ 748 w 748"/>
                <a:gd name="T5" fmla="*/ 0 h 72"/>
                <a:gd name="T6" fmla="*/ 748 w 748"/>
                <a:gd name="T7" fmla="*/ 72 h 72"/>
                <a:gd name="T8" fmla="*/ 0 w 748"/>
                <a:gd name="T9" fmla="*/ 72 h 72"/>
              </a:gdLst>
              <a:ahLst/>
              <a:cxnLst>
                <a:cxn ang="0">
                  <a:pos x="T0" y="T1"/>
                </a:cxn>
                <a:cxn ang="0">
                  <a:pos x="T2" y="T3"/>
                </a:cxn>
                <a:cxn ang="0">
                  <a:pos x="T4" y="T5"/>
                </a:cxn>
                <a:cxn ang="0">
                  <a:pos x="T6" y="T7"/>
                </a:cxn>
                <a:cxn ang="0">
                  <a:pos x="T8" y="T9"/>
                </a:cxn>
              </a:cxnLst>
              <a:rect l="0" t="0" r="r" b="b"/>
              <a:pathLst>
                <a:path w="748" h="72">
                  <a:moveTo>
                    <a:pt x="0" y="72"/>
                  </a:moveTo>
                  <a:cubicBezTo>
                    <a:pt x="0" y="48"/>
                    <a:pt x="0" y="25"/>
                    <a:pt x="0" y="0"/>
                  </a:cubicBezTo>
                  <a:cubicBezTo>
                    <a:pt x="250" y="0"/>
                    <a:pt x="498" y="0"/>
                    <a:pt x="748" y="0"/>
                  </a:cubicBezTo>
                  <a:cubicBezTo>
                    <a:pt x="748" y="24"/>
                    <a:pt x="748" y="48"/>
                    <a:pt x="748" y="72"/>
                  </a:cubicBezTo>
                  <a:cubicBezTo>
                    <a:pt x="499" y="72"/>
                    <a:pt x="251" y="72"/>
                    <a:pt x="0" y="72"/>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140" name="Freeform 15">
              <a:extLst>
                <a:ext uri="{FF2B5EF4-FFF2-40B4-BE49-F238E27FC236}">
                  <a16:creationId xmlns:a16="http://schemas.microsoft.com/office/drawing/2014/main" id="{466036CF-F37E-2646-A6DF-768F5362CD0D}"/>
                </a:ext>
              </a:extLst>
            </p:cNvPr>
            <p:cNvSpPr>
              <a:spLocks/>
            </p:cNvSpPr>
            <p:nvPr/>
          </p:nvSpPr>
          <p:spPr bwMode="auto">
            <a:xfrm>
              <a:off x="3363913" y="4032250"/>
              <a:ext cx="933450" cy="101600"/>
            </a:xfrm>
            <a:custGeom>
              <a:avLst/>
              <a:gdLst>
                <a:gd name="T0" fmla="*/ 673 w 673"/>
                <a:gd name="T1" fmla="*/ 0 h 73"/>
                <a:gd name="T2" fmla="*/ 673 w 673"/>
                <a:gd name="T3" fmla="*/ 73 h 73"/>
                <a:gd name="T4" fmla="*/ 0 w 673"/>
                <a:gd name="T5" fmla="*/ 73 h 73"/>
                <a:gd name="T6" fmla="*/ 0 w 673"/>
                <a:gd name="T7" fmla="*/ 0 h 73"/>
                <a:gd name="T8" fmla="*/ 673 w 673"/>
                <a:gd name="T9" fmla="*/ 0 h 73"/>
              </a:gdLst>
              <a:ahLst/>
              <a:cxnLst>
                <a:cxn ang="0">
                  <a:pos x="T0" y="T1"/>
                </a:cxn>
                <a:cxn ang="0">
                  <a:pos x="T2" y="T3"/>
                </a:cxn>
                <a:cxn ang="0">
                  <a:pos x="T4" y="T5"/>
                </a:cxn>
                <a:cxn ang="0">
                  <a:pos x="T6" y="T7"/>
                </a:cxn>
                <a:cxn ang="0">
                  <a:pos x="T8" y="T9"/>
                </a:cxn>
              </a:cxnLst>
              <a:rect l="0" t="0" r="r" b="b"/>
              <a:pathLst>
                <a:path w="673" h="73">
                  <a:moveTo>
                    <a:pt x="673" y="0"/>
                  </a:moveTo>
                  <a:cubicBezTo>
                    <a:pt x="673" y="25"/>
                    <a:pt x="673" y="48"/>
                    <a:pt x="673" y="73"/>
                  </a:cubicBezTo>
                  <a:cubicBezTo>
                    <a:pt x="448" y="73"/>
                    <a:pt x="225" y="73"/>
                    <a:pt x="0" y="73"/>
                  </a:cubicBezTo>
                  <a:cubicBezTo>
                    <a:pt x="0" y="49"/>
                    <a:pt x="0" y="26"/>
                    <a:pt x="0" y="0"/>
                  </a:cubicBezTo>
                  <a:cubicBezTo>
                    <a:pt x="223" y="0"/>
                    <a:pt x="447" y="0"/>
                    <a:pt x="673" y="0"/>
                  </a:cubicBezTo>
                  <a:close/>
                </a:path>
              </a:pathLst>
            </a:custGeom>
            <a:grpFill/>
            <a:ln w="0">
              <a:noFill/>
              <a:round/>
              <a:headEnd/>
              <a:tailEnd/>
            </a:ln>
          </p:spPr>
          <p:txBody>
            <a:bodyPr vert="horz" wrap="square" lIns="91440" tIns="45720" rIns="91440" bIns="45720" numCol="1" anchor="t" anchorCtr="0" compatLnSpc="1">
              <a:prstTxWarp prst="textNoShape">
                <a:avLst/>
              </a:prstTxWarp>
            </a:bodyPr>
            <a:lstStyle/>
            <a:p>
              <a:endParaRPr lang="en-IN" dirty="0"/>
            </a:p>
          </p:txBody>
        </p:sp>
      </p:grpSp>
      <p:sp>
        <p:nvSpPr>
          <p:cNvPr id="422" name="Rectangle 421">
            <a:extLst>
              <a:ext uri="{FF2B5EF4-FFF2-40B4-BE49-F238E27FC236}">
                <a16:creationId xmlns:a16="http://schemas.microsoft.com/office/drawing/2014/main" id="{7180FAC8-FA59-4657-AD38-FE997EAAF3BA}"/>
              </a:ext>
            </a:extLst>
          </p:cNvPr>
          <p:cNvSpPr/>
          <p:nvPr/>
        </p:nvSpPr>
        <p:spPr bwMode="auto">
          <a:xfrm>
            <a:off x="478901" y="4511910"/>
            <a:ext cx="228600" cy="300795"/>
          </a:xfrm>
          <a:prstGeom prst="rect">
            <a:avLst/>
          </a:prstGeom>
          <a:solidFill>
            <a:schemeClr val="accent3"/>
          </a:solidFill>
          <a:ln w="9525" cap="flat" cmpd="sng" algn="ctr">
            <a:noFill/>
            <a:prstDash val="solid"/>
            <a:round/>
            <a:headEnd type="none" w="med" len="med"/>
            <a:tailEnd type="none" w="med" len="med"/>
          </a:ln>
          <a:effectLst/>
        </p:spPr>
        <p:txBody>
          <a:bodyPr vert="horz" wrap="none" lIns="0" tIns="0" rIns="27432" bIns="0" numCol="1" rtlCol="0" anchor="ctr" anchorCtr="0" compatLnSpc="1">
            <a:prstTxWarp prst="textNoShape">
              <a:avLst/>
            </a:prstTxWarp>
          </a:bodyPr>
          <a:lstStyle/>
          <a:p>
            <a:pPr marL="304800" indent="-304800" algn="r">
              <a:buClr>
                <a:schemeClr val="accent1"/>
              </a:buClr>
              <a:buSzPct val="60000"/>
            </a:pPr>
            <a:r>
              <a:rPr lang="en-IN" dirty="0">
                <a:solidFill>
                  <a:schemeClr val="bg1"/>
                </a:solidFill>
              </a:rPr>
              <a:t>S</a:t>
            </a:r>
          </a:p>
        </p:txBody>
      </p:sp>
      <p:sp>
        <p:nvSpPr>
          <p:cNvPr id="424" name="Rectangle 423">
            <a:extLst>
              <a:ext uri="{FF2B5EF4-FFF2-40B4-BE49-F238E27FC236}">
                <a16:creationId xmlns:a16="http://schemas.microsoft.com/office/drawing/2014/main" id="{16191881-351C-4BBA-AB9A-B01D7DA8F4E3}"/>
              </a:ext>
            </a:extLst>
          </p:cNvPr>
          <p:cNvSpPr/>
          <p:nvPr/>
        </p:nvSpPr>
        <p:spPr bwMode="auto">
          <a:xfrm>
            <a:off x="478901" y="4860253"/>
            <a:ext cx="228600" cy="317195"/>
          </a:xfrm>
          <a:prstGeom prst="rect">
            <a:avLst/>
          </a:prstGeom>
          <a:solidFill>
            <a:schemeClr val="accent2"/>
          </a:solidFill>
          <a:ln w="9525" cap="flat" cmpd="sng" algn="ctr">
            <a:noFill/>
            <a:prstDash val="solid"/>
            <a:round/>
            <a:headEnd type="none" w="med" len="med"/>
            <a:tailEnd type="none" w="med" len="med"/>
          </a:ln>
          <a:effectLst/>
        </p:spPr>
        <p:txBody>
          <a:bodyPr vert="horz" wrap="none" lIns="0" tIns="0" rIns="27432" bIns="0" numCol="1" rtlCol="0" anchor="ctr" anchorCtr="0" compatLnSpc="1">
            <a:prstTxWarp prst="textNoShape">
              <a:avLst/>
            </a:prstTxWarp>
          </a:bodyPr>
          <a:lstStyle/>
          <a:p>
            <a:pPr marL="304800" indent="-304800" algn="r">
              <a:buClr>
                <a:schemeClr val="accent1"/>
              </a:buClr>
              <a:buSzPct val="60000"/>
            </a:pPr>
            <a:r>
              <a:rPr lang="en-IN" dirty="0">
                <a:solidFill>
                  <a:schemeClr val="bg1"/>
                </a:solidFill>
              </a:rPr>
              <a:t>L</a:t>
            </a:r>
          </a:p>
        </p:txBody>
      </p:sp>
      <p:sp>
        <p:nvSpPr>
          <p:cNvPr id="426" name="Rectangle 425">
            <a:extLst>
              <a:ext uri="{FF2B5EF4-FFF2-40B4-BE49-F238E27FC236}">
                <a16:creationId xmlns:a16="http://schemas.microsoft.com/office/drawing/2014/main" id="{6ACD941A-C63D-4441-A539-E8FA5AD97C35}"/>
              </a:ext>
            </a:extLst>
          </p:cNvPr>
          <p:cNvSpPr/>
          <p:nvPr/>
        </p:nvSpPr>
        <p:spPr bwMode="auto">
          <a:xfrm>
            <a:off x="478901" y="5226015"/>
            <a:ext cx="228600" cy="324886"/>
          </a:xfrm>
          <a:prstGeom prst="rect">
            <a:avLst/>
          </a:prstGeom>
          <a:solidFill>
            <a:schemeClr val="accent5"/>
          </a:solidFill>
          <a:ln w="9525" cap="flat" cmpd="sng" algn="ctr">
            <a:noFill/>
            <a:prstDash val="solid"/>
            <a:round/>
            <a:headEnd type="none" w="med" len="med"/>
            <a:tailEnd type="none" w="med" len="med"/>
          </a:ln>
          <a:effectLst/>
        </p:spPr>
        <p:txBody>
          <a:bodyPr vert="horz" wrap="none" lIns="0" tIns="0" rIns="27432" bIns="0" numCol="1" rtlCol="0" anchor="ctr" anchorCtr="0" compatLnSpc="1">
            <a:prstTxWarp prst="textNoShape">
              <a:avLst/>
            </a:prstTxWarp>
          </a:bodyPr>
          <a:lstStyle/>
          <a:p>
            <a:pPr marL="304800" indent="-304800" algn="r">
              <a:buClr>
                <a:schemeClr val="accent1"/>
              </a:buClr>
              <a:buSzPct val="60000"/>
            </a:pPr>
            <a:r>
              <a:rPr lang="en-IN" dirty="0">
                <a:solidFill>
                  <a:schemeClr val="bg1"/>
                </a:solidFill>
              </a:rPr>
              <a:t>O</a:t>
            </a:r>
          </a:p>
        </p:txBody>
      </p:sp>
      <p:sp>
        <p:nvSpPr>
          <p:cNvPr id="428" name="Rectangle 427">
            <a:extLst>
              <a:ext uri="{FF2B5EF4-FFF2-40B4-BE49-F238E27FC236}">
                <a16:creationId xmlns:a16="http://schemas.microsoft.com/office/drawing/2014/main" id="{1A3FCDA3-48B2-41DF-AF30-96F5E456AC1F}"/>
              </a:ext>
            </a:extLst>
          </p:cNvPr>
          <p:cNvSpPr/>
          <p:nvPr/>
        </p:nvSpPr>
        <p:spPr bwMode="auto">
          <a:xfrm>
            <a:off x="478901" y="5623557"/>
            <a:ext cx="228600" cy="300795"/>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27432" bIns="0" numCol="1" rtlCol="0" anchor="ctr" anchorCtr="0" compatLnSpc="1">
            <a:prstTxWarp prst="textNoShape">
              <a:avLst/>
            </a:prstTxWarp>
          </a:bodyPr>
          <a:lstStyle/>
          <a:p>
            <a:pPr marL="304800" indent="-304800" algn="r">
              <a:buClr>
                <a:schemeClr val="accent1"/>
              </a:buClr>
              <a:buSzPct val="60000"/>
            </a:pPr>
            <a:r>
              <a:rPr lang="en-IN" dirty="0">
                <a:solidFill>
                  <a:schemeClr val="bg1"/>
                </a:solidFill>
              </a:rPr>
              <a:t>T</a:t>
            </a:r>
          </a:p>
        </p:txBody>
      </p:sp>
      <p:sp>
        <p:nvSpPr>
          <p:cNvPr id="430" name="Rectangle 429">
            <a:extLst>
              <a:ext uri="{FF2B5EF4-FFF2-40B4-BE49-F238E27FC236}">
                <a16:creationId xmlns:a16="http://schemas.microsoft.com/office/drawing/2014/main" id="{6D1C3F9F-CAC9-4F92-A01C-6DB2ED2A0FAB}"/>
              </a:ext>
            </a:extLst>
          </p:cNvPr>
          <p:cNvSpPr/>
          <p:nvPr/>
        </p:nvSpPr>
        <p:spPr bwMode="auto">
          <a:xfrm>
            <a:off x="478901" y="5979592"/>
            <a:ext cx="228600" cy="300795"/>
          </a:xfrm>
          <a:prstGeom prst="rect">
            <a:avLst/>
          </a:prstGeom>
          <a:solidFill>
            <a:schemeClr val="accent6"/>
          </a:solidFill>
          <a:ln w="9525" cap="flat" cmpd="sng" algn="ctr">
            <a:noFill/>
            <a:prstDash val="solid"/>
            <a:round/>
            <a:headEnd type="none" w="med" len="med"/>
            <a:tailEnd type="none" w="med" len="med"/>
          </a:ln>
          <a:effectLst/>
        </p:spPr>
        <p:txBody>
          <a:bodyPr vert="horz" wrap="none" lIns="0" tIns="0" rIns="27432" bIns="0" numCol="1" rtlCol="0" anchor="ctr" anchorCtr="0" compatLnSpc="1">
            <a:prstTxWarp prst="textNoShape">
              <a:avLst/>
            </a:prstTxWarp>
          </a:bodyPr>
          <a:lstStyle/>
          <a:p>
            <a:pPr marL="304800" indent="-304800" algn="r">
              <a:buClr>
                <a:schemeClr val="accent1"/>
              </a:buClr>
              <a:buSzPct val="60000"/>
            </a:pPr>
            <a:r>
              <a:rPr lang="en-IN" dirty="0">
                <a:solidFill>
                  <a:schemeClr val="bg1"/>
                </a:solidFill>
              </a:rPr>
              <a:t>S</a:t>
            </a:r>
          </a:p>
        </p:txBody>
      </p:sp>
    </p:spTree>
    <p:extLst>
      <p:ext uri="{BB962C8B-B14F-4D97-AF65-F5344CB8AC3E}">
        <p14:creationId xmlns:p14="http://schemas.microsoft.com/office/powerpoint/2010/main" val="1872906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DF8164-BC6B-4F94-9991-067D9A0661BE}"/>
              </a:ext>
            </a:extLst>
          </p:cNvPr>
          <p:cNvSpPr>
            <a:spLocks noGrp="1"/>
          </p:cNvSpPr>
          <p:nvPr>
            <p:ph type="title"/>
          </p:nvPr>
        </p:nvSpPr>
        <p:spPr/>
        <p:txBody>
          <a:bodyPr/>
          <a:lstStyle/>
          <a:p>
            <a:r>
              <a:rPr lang="en-US" dirty="0"/>
              <a:t>Research calendar</a:t>
            </a:r>
            <a:br>
              <a:rPr lang="en-US" dirty="0"/>
            </a:br>
            <a:r>
              <a:rPr lang="en-US" dirty="0">
                <a:latin typeface="+mn-lt"/>
              </a:rPr>
              <a:t>Engineering services</a:t>
            </a:r>
            <a:endParaRPr lang="en-US" dirty="0">
              <a:highlight>
                <a:srgbClr val="FFFF00"/>
              </a:highlight>
              <a:latin typeface="+mn-lt"/>
            </a:endParaRPr>
          </a:p>
        </p:txBody>
      </p:sp>
      <p:grpSp>
        <p:nvGrpSpPr>
          <p:cNvPr id="16" name="Group 15">
            <a:extLst>
              <a:ext uri="{FF2B5EF4-FFF2-40B4-BE49-F238E27FC236}">
                <a16:creationId xmlns:a16="http://schemas.microsoft.com/office/drawing/2014/main" id="{EB51AC41-8DDB-EB44-925B-75FABE99685E}"/>
              </a:ext>
            </a:extLst>
          </p:cNvPr>
          <p:cNvGrpSpPr/>
          <p:nvPr/>
        </p:nvGrpSpPr>
        <p:grpSpPr>
          <a:xfrm>
            <a:off x="9142455" y="1409257"/>
            <a:ext cx="2763032" cy="138643"/>
            <a:chOff x="6168926" y="1360605"/>
            <a:chExt cx="2760155" cy="138498"/>
          </a:xfrm>
        </p:grpSpPr>
        <p:grpSp>
          <p:nvGrpSpPr>
            <p:cNvPr id="19" name="Group 18">
              <a:extLst>
                <a:ext uri="{FF2B5EF4-FFF2-40B4-BE49-F238E27FC236}">
                  <a16:creationId xmlns:a16="http://schemas.microsoft.com/office/drawing/2014/main" id="{2D391064-35B2-764E-A951-C282C9EEDC63}"/>
                </a:ext>
              </a:extLst>
            </p:cNvPr>
            <p:cNvGrpSpPr/>
            <p:nvPr/>
          </p:nvGrpSpPr>
          <p:grpSpPr>
            <a:xfrm>
              <a:off x="7072001" y="1360605"/>
              <a:ext cx="675559" cy="138498"/>
              <a:chOff x="7072001" y="1360605"/>
              <a:chExt cx="675559" cy="138498"/>
            </a:xfrm>
          </p:grpSpPr>
          <p:sp>
            <p:nvSpPr>
              <p:cNvPr id="35" name="KMA1D1FEAF">
                <a:extLst>
                  <a:ext uri="{FF2B5EF4-FFF2-40B4-BE49-F238E27FC236}">
                    <a16:creationId xmlns:a16="http://schemas.microsoft.com/office/drawing/2014/main" id="{689F9736-0A8C-A747-8AFB-0E583488089D}"/>
                  </a:ext>
                </a:extLst>
              </p:cNvPr>
              <p:cNvSpPr>
                <a:spLocks noChangeArrowheads="1"/>
              </p:cNvSpPr>
              <p:nvPr>
                <p:custDataLst>
                  <p:tags r:id="rId3"/>
                </p:custDataLst>
              </p:nvPr>
            </p:nvSpPr>
            <p:spPr bwMode="gray">
              <a:xfrm>
                <a:off x="7072001" y="1371600"/>
                <a:ext cx="205775" cy="119447"/>
              </a:xfrm>
              <a:prstGeom prst="rect">
                <a:avLst/>
              </a:prstGeom>
              <a:solidFill>
                <a:schemeClr val="bg1">
                  <a:lumMod val="75000"/>
                </a:schemeClr>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36" name="TextBox 35">
                <a:extLst>
                  <a:ext uri="{FF2B5EF4-FFF2-40B4-BE49-F238E27FC236}">
                    <a16:creationId xmlns:a16="http://schemas.microsoft.com/office/drawing/2014/main" id="{8D60BED9-6CBD-B542-960B-1FAA7436F286}"/>
                  </a:ext>
                </a:extLst>
              </p:cNvPr>
              <p:cNvSpPr txBox="1"/>
              <p:nvPr/>
            </p:nvSpPr>
            <p:spPr bwMode="gray">
              <a:xfrm>
                <a:off x="7324367" y="1360605"/>
                <a:ext cx="423193" cy="138498"/>
              </a:xfrm>
              <a:prstGeom prst="rect">
                <a:avLst/>
              </a:prstGeom>
              <a:noFill/>
            </p:spPr>
            <p:txBody>
              <a:bodyPr wrap="none" lIns="0" tIns="0" rIns="0" bIns="0" rtlCol="0">
                <a:spAutoFit/>
              </a:bodyPr>
              <a:lstStyle/>
              <a:p>
                <a:pPr>
                  <a:spcBef>
                    <a:spcPts val="901"/>
                  </a:spcBef>
                  <a:spcAft>
                    <a:spcPts val="0"/>
                  </a:spcAft>
                </a:pPr>
                <a:r>
                  <a:rPr lang="en-US" sz="901">
                    <a:latin typeface="+mn-lt"/>
                  </a:rPr>
                  <a:t>Planned</a:t>
                </a:r>
                <a:endParaRPr lang="en-IN" sz="901">
                  <a:latin typeface="+mn-lt"/>
                </a:endParaRPr>
              </a:p>
            </p:txBody>
          </p:sp>
        </p:grpSp>
        <p:grpSp>
          <p:nvGrpSpPr>
            <p:cNvPr id="29" name="Group 28">
              <a:extLst>
                <a:ext uri="{FF2B5EF4-FFF2-40B4-BE49-F238E27FC236}">
                  <a16:creationId xmlns:a16="http://schemas.microsoft.com/office/drawing/2014/main" id="{B6EF11BD-768C-9547-AD1F-466FA623880C}"/>
                </a:ext>
              </a:extLst>
            </p:cNvPr>
            <p:cNvGrpSpPr/>
            <p:nvPr/>
          </p:nvGrpSpPr>
          <p:grpSpPr>
            <a:xfrm>
              <a:off x="6168926" y="1360605"/>
              <a:ext cx="747485" cy="138498"/>
              <a:chOff x="6168926" y="1360605"/>
              <a:chExt cx="747485" cy="138498"/>
            </a:xfrm>
          </p:grpSpPr>
          <p:sp>
            <p:nvSpPr>
              <p:cNvPr id="33" name="KMA1D1FEAF">
                <a:extLst>
                  <a:ext uri="{FF2B5EF4-FFF2-40B4-BE49-F238E27FC236}">
                    <a16:creationId xmlns:a16="http://schemas.microsoft.com/office/drawing/2014/main" id="{0F721D3A-75AE-814A-9DBD-290DFDB11DE3}"/>
                  </a:ext>
                </a:extLst>
              </p:cNvPr>
              <p:cNvSpPr>
                <a:spLocks noChangeArrowheads="1"/>
              </p:cNvSpPr>
              <p:nvPr>
                <p:custDataLst>
                  <p:tags r:id="rId2"/>
                </p:custDataLst>
              </p:nvPr>
            </p:nvSpPr>
            <p:spPr bwMode="gray">
              <a:xfrm>
                <a:off x="6168926" y="1371600"/>
                <a:ext cx="205775" cy="119447"/>
              </a:xfrm>
              <a:prstGeom prst="rect">
                <a:avLst/>
              </a:prstGeom>
              <a:solidFill>
                <a:schemeClr val="accent2"/>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34" name="TextBox 33">
                <a:extLst>
                  <a:ext uri="{FF2B5EF4-FFF2-40B4-BE49-F238E27FC236}">
                    <a16:creationId xmlns:a16="http://schemas.microsoft.com/office/drawing/2014/main" id="{AB5CBBA0-DF4A-2343-9203-E4C61626EE8B}"/>
                  </a:ext>
                </a:extLst>
              </p:cNvPr>
              <p:cNvSpPr txBox="1"/>
              <p:nvPr/>
            </p:nvSpPr>
            <p:spPr bwMode="gray">
              <a:xfrm>
                <a:off x="6409862" y="1360605"/>
                <a:ext cx="506549" cy="138498"/>
              </a:xfrm>
              <a:prstGeom prst="rect">
                <a:avLst/>
              </a:prstGeom>
              <a:noFill/>
            </p:spPr>
            <p:txBody>
              <a:bodyPr wrap="none" lIns="0" tIns="0" rIns="0" bIns="0" rtlCol="0">
                <a:spAutoFit/>
              </a:bodyPr>
              <a:lstStyle/>
              <a:p>
                <a:pPr>
                  <a:spcBef>
                    <a:spcPts val="901"/>
                  </a:spcBef>
                  <a:spcAft>
                    <a:spcPts val="0"/>
                  </a:spcAft>
                </a:pPr>
                <a:r>
                  <a:rPr lang="en-US" sz="901">
                    <a:latin typeface="+mn-lt"/>
                  </a:rPr>
                  <a:t>Published</a:t>
                </a:r>
                <a:endParaRPr lang="en-IN" sz="901">
                  <a:latin typeface="+mn-lt"/>
                </a:endParaRPr>
              </a:p>
            </p:txBody>
          </p:sp>
        </p:grpSp>
        <p:sp>
          <p:nvSpPr>
            <p:cNvPr id="30" name="KMA1D1FEAF">
              <a:extLst>
                <a:ext uri="{FF2B5EF4-FFF2-40B4-BE49-F238E27FC236}">
                  <a16:creationId xmlns:a16="http://schemas.microsoft.com/office/drawing/2014/main" id="{B88FA486-CE0A-2D4D-BD8F-2E6D33CA34C9}"/>
                </a:ext>
              </a:extLst>
            </p:cNvPr>
            <p:cNvSpPr>
              <a:spLocks noChangeArrowheads="1"/>
            </p:cNvSpPr>
            <p:nvPr>
              <p:custDataLst>
                <p:tags r:id="rId1"/>
              </p:custDataLst>
            </p:nvPr>
          </p:nvSpPr>
          <p:spPr bwMode="gray">
            <a:xfrm>
              <a:off x="7883531" y="1371600"/>
              <a:ext cx="205775" cy="118748"/>
            </a:xfrm>
            <a:prstGeom prst="rect">
              <a:avLst/>
            </a:prstGeom>
            <a:solidFill>
              <a:schemeClr val="tx1"/>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32" name="TextBox 31">
              <a:extLst>
                <a:ext uri="{FF2B5EF4-FFF2-40B4-BE49-F238E27FC236}">
                  <a16:creationId xmlns:a16="http://schemas.microsoft.com/office/drawing/2014/main" id="{2FE946A5-487F-3546-8B8E-789CA1216869}"/>
                </a:ext>
              </a:extLst>
            </p:cNvPr>
            <p:cNvSpPr txBox="1"/>
            <p:nvPr/>
          </p:nvSpPr>
          <p:spPr bwMode="gray">
            <a:xfrm>
              <a:off x="8133992" y="1360605"/>
              <a:ext cx="795089" cy="138498"/>
            </a:xfrm>
            <a:prstGeom prst="rect">
              <a:avLst/>
            </a:prstGeom>
            <a:noFill/>
          </p:spPr>
          <p:txBody>
            <a:bodyPr wrap="none" lIns="0" tIns="0" rIns="0" bIns="0" rtlCol="0">
              <a:spAutoFit/>
            </a:bodyPr>
            <a:lstStyle/>
            <a:p>
              <a:pPr>
                <a:spcBef>
                  <a:spcPts val="901"/>
                </a:spcBef>
                <a:spcAft>
                  <a:spcPts val="0"/>
                </a:spcAft>
              </a:pPr>
              <a:r>
                <a:rPr lang="en-US" sz="901">
                  <a:latin typeface="+mn-lt"/>
                </a:rPr>
                <a:t>Current release</a:t>
              </a:r>
              <a:endParaRPr lang="en-IN" sz="901">
                <a:latin typeface="+mn-lt"/>
              </a:endParaRPr>
            </a:p>
          </p:txBody>
        </p:sp>
      </p:grpSp>
      <p:graphicFrame>
        <p:nvGraphicFramePr>
          <p:cNvPr id="37" name="Table 33">
            <a:extLst>
              <a:ext uri="{FF2B5EF4-FFF2-40B4-BE49-F238E27FC236}">
                <a16:creationId xmlns:a16="http://schemas.microsoft.com/office/drawing/2014/main" id="{D362779C-5F61-3C4A-BD5D-4AA1AFEEA354}"/>
              </a:ext>
            </a:extLst>
          </p:cNvPr>
          <p:cNvGraphicFramePr>
            <a:graphicFrameLocks noGrp="1"/>
          </p:cNvGraphicFramePr>
          <p:nvPr>
            <p:extLst>
              <p:ext uri="{D42A27DB-BD31-4B8C-83A1-F6EECF244321}">
                <p14:modId xmlns:p14="http://schemas.microsoft.com/office/powerpoint/2010/main" val="3536539466"/>
              </p:ext>
            </p:extLst>
          </p:nvPr>
        </p:nvGraphicFramePr>
        <p:xfrm>
          <a:off x="0" y="3972211"/>
          <a:ext cx="12192000" cy="2323305"/>
        </p:xfrm>
        <a:graphic>
          <a:graphicData uri="http://schemas.openxmlformats.org/drawingml/2006/table">
            <a:tbl>
              <a:tblPr>
                <a:tableStyleId>{5C22544A-7EE6-4342-B048-85BDC9FD1C3A}</a:tableStyleId>
              </a:tblPr>
              <a:tblGrid>
                <a:gridCol w="10777025">
                  <a:extLst>
                    <a:ext uri="{9D8B030D-6E8A-4147-A177-3AD203B41FA5}">
                      <a16:colId xmlns:a16="http://schemas.microsoft.com/office/drawing/2014/main" val="1697316569"/>
                    </a:ext>
                  </a:extLst>
                </a:gridCol>
                <a:gridCol w="1414975">
                  <a:extLst>
                    <a:ext uri="{9D8B030D-6E8A-4147-A177-3AD203B41FA5}">
                      <a16:colId xmlns:a16="http://schemas.microsoft.com/office/drawing/2014/main" val="2481023271"/>
                    </a:ext>
                  </a:extLst>
                </a:gridCol>
              </a:tblGrid>
              <a:tr h="258145">
                <a:tc>
                  <a:txBody>
                    <a:bodyPr/>
                    <a:lstStyle/>
                    <a:p>
                      <a:pPr>
                        <a:lnSpc>
                          <a:spcPct val="100000"/>
                        </a:lnSpc>
                        <a:spcBef>
                          <a:spcPts val="0"/>
                        </a:spcBef>
                        <a:spcAft>
                          <a:spcPts val="0"/>
                        </a:spcAft>
                        <a:buClr>
                          <a:srgbClr val="BC202E"/>
                        </a:buClr>
                        <a:buSzPct val="60000"/>
                        <a:tabLst>
                          <a:tab pos="8619769" algn="r"/>
                        </a:tabLst>
                        <a:defRPr/>
                      </a:pPr>
                      <a:r>
                        <a:rPr lang="en-IN" sz="1101" b="1" u="none" dirty="0">
                          <a:solidFill>
                            <a:srgbClr val="FFFFFF"/>
                          </a:solidFill>
                          <a:latin typeface="+mn-lt"/>
                        </a:rPr>
                        <a:t>Thematic reports</a:t>
                      </a:r>
                    </a:p>
                  </a:txBody>
                  <a:tcPr marL="310896" marT="0" marB="0" anchor="ctr">
                    <a:lnL w="6350" cap="flat" cmpd="sng" algn="ctr">
                      <a:solidFill>
                        <a:schemeClr val="bg2"/>
                      </a:solidFill>
                      <a:prstDash val="solid"/>
                      <a:round/>
                      <a:headEnd type="none" w="med" len="med"/>
                      <a:tailEnd type="none" w="med" len="med"/>
                    </a:lnL>
                    <a:lnR w="6350" cap="flat" cmpd="sng" algn="ctr">
                      <a:noFill/>
                      <a:prstDash val="lgDash"/>
                      <a:round/>
                      <a:headEnd type="none" w="med" len="med"/>
                      <a:tailEnd type="none" w="med" len="med"/>
                    </a:lnR>
                    <a:lnB w="12700" cmpd="sng">
                      <a:noFill/>
                    </a:lnB>
                    <a:solidFill>
                      <a:schemeClr val="bg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mn-lt"/>
                        </a:rPr>
                        <a:t>Release date</a:t>
                      </a:r>
                      <a:endParaRPr lang="en-IN" sz="1050">
                        <a:latin typeface="+mn-lt"/>
                      </a:endParaRPr>
                    </a:p>
                  </a:txBody>
                  <a:tcPr marR="288000" marT="0" marB="0" anchor="ctr">
                    <a:lnL w="6350" cap="flat" cmpd="sng" algn="ctr">
                      <a:noFill/>
                      <a:prstDash val="lgDash"/>
                      <a:round/>
                      <a:headEnd type="none" w="med" len="med"/>
                      <a:tailEnd type="none" w="med" len="med"/>
                    </a:lnL>
                    <a:lnR w="6350" cap="flat" cmpd="sng" algn="ctr">
                      <a:solidFill>
                        <a:schemeClr val="bg2"/>
                      </a:solidFill>
                      <a:prstDash val="solid"/>
                      <a:round/>
                      <a:headEnd type="none" w="med" len="med"/>
                      <a:tailEnd type="none" w="med" len="med"/>
                    </a:lnR>
                    <a:lnB w="12700" cmpd="sng">
                      <a:noFill/>
                    </a:lnB>
                    <a:solidFill>
                      <a:schemeClr val="bg2"/>
                    </a:solidFill>
                  </a:tcPr>
                </a:tc>
                <a:extLst>
                  <a:ext uri="{0D108BD9-81ED-4DB2-BD59-A6C34878D82A}">
                    <a16:rowId xmlns:a16="http://schemas.microsoft.com/office/drawing/2014/main" val="3480351584"/>
                  </a:ext>
                </a:extLst>
              </a:tr>
              <a:tr h="258145">
                <a:tc>
                  <a:txBody>
                    <a:bodyPr/>
                    <a:lstStyle/>
                    <a:p>
                      <a:pPr marL="0" algn="l" defTabSz="914400" rtl="0" eaLnBrk="1" latinLnBrk="0" hangingPunct="1">
                        <a:lnSpc>
                          <a:spcPct val="100000"/>
                        </a:lnSpc>
                      </a:pPr>
                      <a:r>
                        <a:rPr lang="en-US" sz="1100" u="none" kern="1200" dirty="0">
                          <a:solidFill>
                            <a:schemeClr val="accent2"/>
                          </a:solidFill>
                          <a:uFill>
                            <a:solidFill>
                              <a:schemeClr val="bg1"/>
                            </a:solidFill>
                          </a:uFill>
                          <a:latin typeface="+mn-lt"/>
                          <a:ea typeface="+mn-ea"/>
                          <a:cs typeface="+mn-cs"/>
                        </a:rPr>
                        <a:t>Extended Reality and its Application Across Industries</a:t>
                      </a:r>
                    </a:p>
                  </a:txBody>
                  <a:tcPr marL="310896" marT="0" marB="0" anchor="ctr">
                    <a:lnL w="12700" cap="flat" cmpd="sng" algn="ctr">
                      <a:noFill/>
                      <a:prstDash val="solid"/>
                      <a:round/>
                      <a:headEnd type="none" w="med" len="med"/>
                      <a:tailEnd type="none" w="med" len="med"/>
                    </a:lnL>
                    <a:lnR w="12700" cmpd="sng">
                      <a:noFill/>
                    </a:lnR>
                    <a:lnT w="6350" cap="flat" cmpd="sng" algn="ctr">
                      <a:no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kumimoji="0" lang="en-US" sz="1100" b="0" i="0" u="none" strike="noStrike" kern="1200" cap="none" spc="0" normalizeH="0" baseline="0" noProof="0" dirty="0">
                          <a:ln>
                            <a:noFill/>
                          </a:ln>
                          <a:solidFill>
                            <a:schemeClr val="accent2"/>
                          </a:solidFill>
                          <a:effectLst/>
                          <a:uLnTx/>
                          <a:uFillTx/>
                          <a:latin typeface="+mn-lt"/>
                          <a:ea typeface="+mn-ea"/>
                          <a:cs typeface="Arial" charset="0"/>
                        </a:rPr>
                        <a:t>August 2021</a:t>
                      </a:r>
                    </a:p>
                  </a:txBody>
                  <a:tcPr marR="288000" marT="0" marB="0" anchor="ctr">
                    <a:lnL w="12700" cmpd="sng">
                      <a:noFill/>
                    </a:lnL>
                    <a:lnR w="12700" cmpd="sng">
                      <a:noFill/>
                    </a:lnR>
                    <a:lnT w="6350" cap="flat" cmpd="sng" algn="ctr">
                      <a:no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4788234"/>
                  </a:ext>
                </a:extLst>
              </a:tr>
              <a:tr h="258145">
                <a:tc>
                  <a:txBody>
                    <a:bodyPr/>
                    <a:lstStyle/>
                    <a:p>
                      <a:pPr marL="0" algn="l" defTabSz="914400" rtl="0" eaLnBrk="1" latinLnBrk="0" hangingPunct="1">
                        <a:lnSpc>
                          <a:spcPct val="100000"/>
                        </a:lnSpc>
                      </a:pPr>
                      <a:r>
                        <a:rPr lang="en-US" sz="1100" u="none" kern="1200" dirty="0">
                          <a:solidFill>
                            <a:schemeClr val="accent2"/>
                          </a:solidFill>
                          <a:latin typeface="+mn-lt"/>
                          <a:ea typeface="+mn-ea"/>
                          <a:cs typeface="+mn-cs"/>
                        </a:rPr>
                        <a:t>Leading the Pack: Trends for the Top 200 Engineering Research &amp; Development (ER&amp;D) Enterprises 2021</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accent2"/>
                          </a:solidFill>
                          <a:effectLst/>
                          <a:uLnTx/>
                          <a:uFillTx/>
                          <a:latin typeface="+mn-lt"/>
                          <a:ea typeface="+mn-ea"/>
                          <a:cs typeface="Arial" charset="0"/>
                        </a:rPr>
                        <a:t>September 2021</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4003660"/>
                  </a:ext>
                </a:extLst>
              </a:tr>
              <a:tr h="258145">
                <a:tc>
                  <a:txBody>
                    <a:bodyPr/>
                    <a:lstStyle/>
                    <a:p>
                      <a:pPr marL="0" algn="l" defTabSz="914400" rtl="0" eaLnBrk="1" latinLnBrk="0" hangingPunct="1">
                        <a:lnSpc>
                          <a:spcPct val="100000"/>
                        </a:lnSpc>
                      </a:pPr>
                      <a:r>
                        <a:rPr lang="en-US" sz="1100" kern="1200" dirty="0">
                          <a:solidFill>
                            <a:schemeClr val="accent2"/>
                          </a:solidFill>
                          <a:latin typeface="+mn-lt"/>
                          <a:ea typeface="+mn-ea"/>
                          <a:cs typeface="+mn-cs"/>
                        </a:rPr>
                        <a:t>Engineering R&amp;D (ER&amp;D) in 2022: Key Macroeconomic and Technological Trends that Will Shape the ER&amp;D Industry in 2022</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accent2"/>
                          </a:solidFill>
                          <a:effectLst/>
                          <a:uLnTx/>
                          <a:uFillTx/>
                          <a:latin typeface="+mn-lt"/>
                          <a:ea typeface="+mn-ea"/>
                          <a:cs typeface="Arial" charset="0"/>
                        </a:rPr>
                        <a:t>February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6205529"/>
                  </a:ext>
                </a:extLst>
              </a:tr>
              <a:tr h="258145">
                <a:tc>
                  <a:txBody>
                    <a:bodyPr/>
                    <a:lstStyle/>
                    <a:p>
                      <a:pPr marL="0" algn="l" defTabSz="914400" rtl="0" eaLnBrk="1" latinLnBrk="0" hangingPunct="1">
                        <a:lnSpc>
                          <a:spcPct val="100000"/>
                        </a:lnSpc>
                      </a:pPr>
                      <a:r>
                        <a:rPr lang="en-IN" sz="1100" b="0" kern="1200" dirty="0">
                          <a:solidFill>
                            <a:schemeClr val="accent2"/>
                          </a:solidFill>
                          <a:latin typeface="+mn-lt"/>
                          <a:ea typeface="+mn-ea"/>
                          <a:cs typeface="+mn-cs"/>
                        </a:rPr>
                        <a:t>Industry 4.0 Trailblazers: Top Start-ups Impacting the Industry 4.0 Value Chain </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accent2"/>
                          </a:solidFill>
                          <a:effectLst/>
                          <a:uLnTx/>
                          <a:uFillTx/>
                          <a:latin typeface="+mn-lt"/>
                          <a:ea typeface="+mn-ea"/>
                          <a:cs typeface="Arial" charset="0"/>
                        </a:rPr>
                        <a:t>February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2964171"/>
                  </a:ext>
                </a:extLst>
              </a:tr>
              <a:tr h="258145">
                <a:tc>
                  <a:txBody>
                    <a:bodyPr/>
                    <a:lstStyle/>
                    <a:p>
                      <a:pPr>
                        <a:lnSpc>
                          <a:spcPct val="100000"/>
                        </a:lnSpc>
                      </a:pPr>
                      <a:r>
                        <a:rPr lang="en-US" sz="1100" dirty="0">
                          <a:solidFill>
                            <a:schemeClr val="accent2"/>
                          </a:solidFill>
                          <a:latin typeface="+mn-lt"/>
                        </a:rPr>
                        <a:t>Environmental, Social, and Governance (ESG) for the Engineering World</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accent2"/>
                          </a:solidFill>
                          <a:effectLst/>
                          <a:uLnTx/>
                          <a:uFillTx/>
                          <a:latin typeface="+mn-lt"/>
                          <a:ea typeface="+mn-ea"/>
                          <a:cs typeface="Arial" charset="0"/>
                        </a:rPr>
                        <a:t>March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5038155"/>
                  </a:ext>
                </a:extLst>
              </a:tr>
              <a:tr h="258145">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n-lt"/>
                          <a:ea typeface="+mn-ea"/>
                          <a:cs typeface="+mn-cs"/>
                        </a:rPr>
                        <a:t>Engineering Services Outsourcing Handbook</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1" i="0" u="none" strike="noStrike" kern="1200" cap="none" spc="0" normalizeH="0" baseline="0" noProof="0" dirty="0">
                          <a:ln>
                            <a:noFill/>
                          </a:ln>
                          <a:solidFill>
                            <a:schemeClr val="tx1"/>
                          </a:solidFill>
                          <a:effectLst/>
                          <a:uLnTx/>
                          <a:uFillTx/>
                          <a:latin typeface="+mn-lt"/>
                          <a:ea typeface="+mn-ea"/>
                          <a:cs typeface="Arial" charset="0"/>
                        </a:rPr>
                        <a:t>March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4962821"/>
                  </a:ext>
                </a:extLst>
              </a:tr>
              <a:tr h="258145">
                <a:tc>
                  <a:txBody>
                    <a:bodyPr/>
                    <a:lstStyle/>
                    <a:p>
                      <a:pPr>
                        <a:lnSpc>
                          <a:spcPct val="100000"/>
                        </a:lnSpc>
                      </a:pPr>
                      <a:r>
                        <a:rPr lang="en-US" sz="1100" dirty="0">
                          <a:solidFill>
                            <a:schemeClr val="bg1">
                              <a:lumMod val="65000"/>
                            </a:schemeClr>
                          </a:solidFill>
                          <a:latin typeface="+mn-lt"/>
                        </a:rPr>
                        <a:t>Engineering Services Enterprise Pulse: Are Engineering Enterprises Truly Happy with Their Service Providers?</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bg1">
                              <a:lumMod val="65000"/>
                            </a:schemeClr>
                          </a:solidFill>
                          <a:effectLst/>
                          <a:uLnTx/>
                          <a:uFillTx/>
                          <a:latin typeface="+mn-lt"/>
                          <a:ea typeface="+mn-ea"/>
                          <a:cs typeface="Arial" charset="0"/>
                        </a:rPr>
                        <a:t>Q2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171568"/>
                  </a:ext>
                </a:extLst>
              </a:tr>
              <a:tr h="258145">
                <a:tc>
                  <a:txBody>
                    <a:bodyPr/>
                    <a:lstStyle/>
                    <a:p>
                      <a:pPr marL="0" algn="l" defTabSz="914400" rtl="0" eaLnBrk="1" latinLnBrk="0" hangingPunct="1">
                        <a:lnSpc>
                          <a:spcPct val="100000"/>
                        </a:lnSpc>
                      </a:pPr>
                      <a:r>
                        <a:rPr lang="en-US" sz="1100" kern="1200" dirty="0">
                          <a:solidFill>
                            <a:schemeClr val="bg1">
                              <a:lumMod val="65000"/>
                            </a:schemeClr>
                          </a:solidFill>
                          <a:latin typeface="+mn-lt"/>
                          <a:ea typeface="+mn-ea"/>
                          <a:cs typeface="+mn-cs"/>
                        </a:rPr>
                        <a:t>Engineering Services Top 50</a:t>
                      </a:r>
                    </a:p>
                  </a:txBody>
                  <a:tcPr marL="310896" marT="0" marB="0" anchor="ctr">
                    <a:lnL w="12700" cap="flat" cmpd="sng" algn="ctr">
                      <a:noFill/>
                      <a:prstDash val="solid"/>
                      <a:round/>
                      <a:headEnd type="none" w="med" len="med"/>
                      <a:tailEnd type="none" w="med" len="med"/>
                    </a:lnL>
                    <a:lnR w="12700" cmpd="sng">
                      <a:noFill/>
                    </a:lnR>
                    <a:lnT w="6350" cap="flat" cmpd="sng" algn="ctr">
                      <a:solidFill>
                        <a:schemeClr val="bg1">
                          <a:lumMod val="75000"/>
                        </a:schemeClr>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5373"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chemeClr val="bg1">
                              <a:lumMod val="65000"/>
                            </a:schemeClr>
                          </a:solidFill>
                          <a:effectLst/>
                          <a:uLnTx/>
                          <a:uFillTx/>
                          <a:latin typeface="+mn-lt"/>
                          <a:ea typeface="+mn-ea"/>
                          <a:cs typeface="Arial" charset="0"/>
                        </a:rPr>
                        <a:t>Q2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8757814"/>
                  </a:ext>
                </a:extLst>
              </a:tr>
            </a:tbl>
          </a:graphicData>
        </a:graphic>
      </p:graphicFrame>
      <p:sp>
        <p:nvSpPr>
          <p:cNvPr id="38" name="Text Box 12">
            <a:extLst>
              <a:ext uri="{FF2B5EF4-FFF2-40B4-BE49-F238E27FC236}">
                <a16:creationId xmlns:a16="http://schemas.microsoft.com/office/drawing/2014/main" id="{12282E0D-74C0-4045-B19B-2DF5F5031127}"/>
              </a:ext>
            </a:extLst>
          </p:cNvPr>
          <p:cNvSpPr txBox="1">
            <a:spLocks noChangeArrowheads="1"/>
          </p:cNvSpPr>
          <p:nvPr/>
        </p:nvSpPr>
        <p:spPr bwMode="gray">
          <a:xfrm>
            <a:off x="307975" y="6311998"/>
            <a:ext cx="1161288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b">
            <a:spAutoFit/>
          </a:bodyPr>
          <a:lstStyle>
            <a:defPPr>
              <a:defRPr lang="en-US"/>
            </a:defPPr>
            <a:lvl1pPr marL="356616" lvl="0" indent="-356616" eaLnBrk="1" hangingPunct="1">
              <a:buClr>
                <a:srgbClr val="005A8C"/>
              </a:buClr>
              <a:buSzPct val="60000"/>
              <a:tabLst>
                <a:tab pos="246888" algn="r"/>
              </a:tabLst>
              <a:defRPr kumimoji="0" sz="800" b="0" i="0" u="none" strike="noStrike" cap="none" spc="0" normalizeH="0" baseline="0">
                <a:ln>
                  <a:noFill/>
                </a:ln>
                <a:solidFill>
                  <a:srgbClr val="FF0000"/>
                </a:solidFill>
                <a:effectLst/>
                <a:uLnTx/>
                <a:uFillTx/>
              </a:defRPr>
            </a:lvl1pPr>
            <a:lvl2pPr marL="742950" indent="-285750" eaLnBrk="0" hangingPunct="0">
              <a:tabLst>
                <a:tab pos="519113" algn="r"/>
              </a:tabLst>
            </a:lvl2pPr>
            <a:lvl3pPr marL="1143000" indent="-228600" eaLnBrk="0" hangingPunct="0">
              <a:tabLst>
                <a:tab pos="519113" algn="r"/>
              </a:tabLst>
            </a:lvl3pPr>
            <a:lvl4pPr marL="1600200" indent="-228600" eaLnBrk="0" hangingPunct="0">
              <a:tabLst>
                <a:tab pos="519113" algn="r"/>
              </a:tabLst>
            </a:lvl4pPr>
            <a:lvl5pPr marL="2057400" indent="-228600" eaLnBrk="0" hangingPunct="0">
              <a:tabLst>
                <a:tab pos="519113" algn="r"/>
              </a:tabLst>
            </a:lvl5pPr>
            <a:lvl6pPr marL="2514600" indent="-228600" eaLnBrk="0" fontAlgn="base" hangingPunct="0">
              <a:spcBef>
                <a:spcPct val="0"/>
              </a:spcBef>
              <a:spcAft>
                <a:spcPct val="0"/>
              </a:spcAft>
              <a:tabLst>
                <a:tab pos="519113" algn="r"/>
              </a:tabLst>
            </a:lvl6pPr>
            <a:lvl7pPr marL="2971800" indent="-228600" eaLnBrk="0" fontAlgn="base" hangingPunct="0">
              <a:spcBef>
                <a:spcPct val="0"/>
              </a:spcBef>
              <a:spcAft>
                <a:spcPct val="0"/>
              </a:spcAft>
              <a:tabLst>
                <a:tab pos="519113" algn="r"/>
              </a:tabLst>
            </a:lvl7pPr>
            <a:lvl8pPr marL="3429000" indent="-228600" eaLnBrk="0" fontAlgn="base" hangingPunct="0">
              <a:spcBef>
                <a:spcPct val="0"/>
              </a:spcBef>
              <a:spcAft>
                <a:spcPct val="0"/>
              </a:spcAft>
              <a:tabLst>
                <a:tab pos="519113" algn="r"/>
              </a:tabLst>
            </a:lvl8pPr>
            <a:lvl9pPr marL="3886200" indent="-228600" eaLnBrk="0" fontAlgn="base" hangingPunct="0">
              <a:spcBef>
                <a:spcPct val="0"/>
              </a:spcBef>
              <a:spcAft>
                <a:spcPct val="0"/>
              </a:spcAft>
              <a:tabLst>
                <a:tab pos="519113" algn="r"/>
              </a:tabLst>
            </a:lvl9pPr>
          </a:lstStyle>
          <a:p>
            <a:pPr marL="355600" indent="-366713" defTabSz="228600">
              <a:tabLst/>
            </a:pPr>
            <a:r>
              <a:rPr lang="en-US" dirty="0">
                <a:solidFill>
                  <a:schemeClr val="tx1"/>
                </a:solidFill>
              </a:rPr>
              <a:t>Note:	For a list of all of our published ES reports, please refer to our </a:t>
            </a:r>
            <a:r>
              <a:rPr lang="en-US" dirty="0">
                <a:solidFill>
                  <a:srgbClr val="3F3F3F"/>
                </a:solidFill>
                <a:hlinkClick r:id="rId6"/>
              </a:rPr>
              <a:t>website page</a:t>
            </a:r>
            <a:r>
              <a:rPr lang="en-US" dirty="0">
                <a:solidFill>
                  <a:srgbClr val="3F3F3F"/>
                </a:solidFill>
              </a:rPr>
              <a:t>.</a:t>
            </a:r>
            <a:endParaRPr lang="en-US" dirty="0">
              <a:solidFill>
                <a:schemeClr val="tx1"/>
              </a:solidFill>
            </a:endParaRPr>
          </a:p>
        </p:txBody>
      </p:sp>
      <p:graphicFrame>
        <p:nvGraphicFramePr>
          <p:cNvPr id="39" name="Table 33">
            <a:extLst>
              <a:ext uri="{FF2B5EF4-FFF2-40B4-BE49-F238E27FC236}">
                <a16:creationId xmlns:a16="http://schemas.microsoft.com/office/drawing/2014/main" id="{AC54FAF7-9F22-9743-A8E9-A48625428F60}"/>
              </a:ext>
            </a:extLst>
          </p:cNvPr>
          <p:cNvGraphicFramePr>
            <a:graphicFrameLocks noGrp="1"/>
          </p:cNvGraphicFramePr>
          <p:nvPr>
            <p:extLst>
              <p:ext uri="{D42A27DB-BD31-4B8C-83A1-F6EECF244321}">
                <p14:modId xmlns:p14="http://schemas.microsoft.com/office/powerpoint/2010/main" val="3060259322"/>
              </p:ext>
            </p:extLst>
          </p:nvPr>
        </p:nvGraphicFramePr>
        <p:xfrm>
          <a:off x="0" y="1657350"/>
          <a:ext cx="12192000" cy="2320389"/>
        </p:xfrm>
        <a:graphic>
          <a:graphicData uri="http://schemas.openxmlformats.org/drawingml/2006/table">
            <a:tbl>
              <a:tblPr>
                <a:tableStyleId>{5C22544A-7EE6-4342-B048-85BDC9FD1C3A}</a:tableStyleId>
              </a:tblPr>
              <a:tblGrid>
                <a:gridCol w="10732247">
                  <a:extLst>
                    <a:ext uri="{9D8B030D-6E8A-4147-A177-3AD203B41FA5}">
                      <a16:colId xmlns:a16="http://schemas.microsoft.com/office/drawing/2014/main" val="1697316569"/>
                    </a:ext>
                  </a:extLst>
                </a:gridCol>
                <a:gridCol w="1459753">
                  <a:extLst>
                    <a:ext uri="{9D8B030D-6E8A-4147-A177-3AD203B41FA5}">
                      <a16:colId xmlns:a16="http://schemas.microsoft.com/office/drawing/2014/main" val="2481023271"/>
                    </a:ext>
                  </a:extLst>
                </a:gridCol>
              </a:tblGrid>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FFFFFF"/>
                          </a:solidFill>
                          <a:latin typeface="+mn-lt"/>
                        </a:rPr>
                        <a:t>Flagship reports</a:t>
                      </a:r>
                      <a:endParaRPr lang="en-IN" sz="1050" dirty="0"/>
                    </a:p>
                  </a:txBody>
                  <a:tcPr marL="310896" marT="0" marB="0" anchor="ctr">
                    <a:lnL w="6350" cap="flat" cmpd="sng" algn="ctr">
                      <a:solidFill>
                        <a:schemeClr val="accent2"/>
                      </a:solidFill>
                      <a:prstDash val="solid"/>
                      <a:round/>
                      <a:headEnd type="none" w="med" len="med"/>
                      <a:tailEnd type="none" w="med" len="med"/>
                    </a:lnL>
                    <a:lnR w="6350" cap="flat" cmpd="sng" algn="ctr">
                      <a:noFill/>
                      <a:prstDash val="lgDash"/>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a:solidFill>
                            <a:srgbClr val="FFFFFF"/>
                          </a:solidFill>
                          <a:latin typeface="+mn-lt"/>
                        </a:rPr>
                        <a:t>Release date</a:t>
                      </a:r>
                      <a:endParaRPr lang="en-IN" sz="1050"/>
                    </a:p>
                  </a:txBody>
                  <a:tcPr marR="288000" marT="0" marB="0" anchor="ctr">
                    <a:lnL w="6350" cap="flat" cmpd="sng" algn="ctr">
                      <a:noFill/>
                      <a:prstDash val="lgDash"/>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480351584"/>
                  </a:ext>
                </a:extLst>
              </a:tr>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u="none" baseline="0" dirty="0">
                          <a:solidFill>
                            <a:schemeClr val="accent2"/>
                          </a:solidFill>
                          <a:uFill>
                            <a:solidFill>
                              <a:schemeClr val="bg1"/>
                            </a:solidFill>
                          </a:uFill>
                          <a:latin typeface="+mn-lt"/>
                        </a:rPr>
                        <a:t>A Transformational Leap in Cyber-physical Convergence – Industry 4.0 State of the Market Report 2021</a:t>
                      </a:r>
                    </a:p>
                  </a:txBody>
                  <a:tcPr marL="310896"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N" sz="1100" dirty="0">
                          <a:solidFill>
                            <a:schemeClr val="accent2"/>
                          </a:solidFill>
                          <a:latin typeface="+mn-lt"/>
                        </a:rPr>
                        <a:t>April 2021</a:t>
                      </a:r>
                    </a:p>
                  </a:txBody>
                  <a:tcPr marR="28800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9997558"/>
                  </a:ext>
                </a:extLst>
              </a:tr>
              <a:tr h="257821">
                <a:tc>
                  <a:txBody>
                    <a:bodyPr/>
                    <a:lstStyle/>
                    <a:p>
                      <a:pPr>
                        <a:lnSpc>
                          <a:spcPct val="100000"/>
                        </a:lnSpc>
                      </a:pPr>
                      <a:r>
                        <a:rPr lang="en-IN" sz="1100" u="none" baseline="0" dirty="0">
                          <a:solidFill>
                            <a:schemeClr val="accent2"/>
                          </a:solidFill>
                          <a:uFill>
                            <a:solidFill>
                              <a:schemeClr val="bg1"/>
                            </a:solidFill>
                          </a:uFill>
                          <a:latin typeface="+mn-lt"/>
                        </a:rPr>
                        <a:t>Exploring the Future of Mobility: Autonomous, Connected, Electric, and Shared (ACES) Mobility Automotive Engineering Services PEAK Matrix</a:t>
                      </a:r>
                      <a:r>
                        <a:rPr lang="en-IN" sz="1100" u="none" baseline="30000" dirty="0">
                          <a:solidFill>
                            <a:schemeClr val="accent2"/>
                          </a:solidFill>
                          <a:uFill>
                            <a:solidFill>
                              <a:schemeClr val="bg1"/>
                            </a:solidFill>
                          </a:uFill>
                          <a:latin typeface="+mn-lt"/>
                        </a:rPr>
                        <a:t>®</a:t>
                      </a:r>
                      <a:r>
                        <a:rPr lang="en-IN" sz="1100" u="none" baseline="0" dirty="0">
                          <a:solidFill>
                            <a:schemeClr val="accent2"/>
                          </a:solidFill>
                          <a:uFill>
                            <a:solidFill>
                              <a:schemeClr val="bg1"/>
                            </a:solidFill>
                          </a:uFill>
                          <a:latin typeface="+mn-lt"/>
                        </a:rPr>
                        <a:t> Assessment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IN" sz="1100" dirty="0">
                          <a:solidFill>
                            <a:schemeClr val="accent2"/>
                          </a:solidFill>
                          <a:latin typeface="+mn-lt"/>
                        </a:rPr>
                        <a:t>August 2021</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654377"/>
                  </a:ext>
                </a:extLst>
              </a:tr>
              <a:tr h="257821">
                <a:tc>
                  <a:txBody>
                    <a:bodyPr/>
                    <a:lstStyle/>
                    <a:p>
                      <a:pPr>
                        <a:lnSpc>
                          <a:spcPct val="100000"/>
                        </a:lnSpc>
                      </a:pPr>
                      <a:r>
                        <a:rPr lang="en-IN" sz="1100" u="none" dirty="0">
                          <a:solidFill>
                            <a:schemeClr val="accent2"/>
                          </a:solidFill>
                          <a:uFill>
                            <a:solidFill>
                              <a:schemeClr val="bg1"/>
                            </a:solidFill>
                          </a:uFill>
                          <a:latin typeface="+mn-lt"/>
                        </a:rPr>
                        <a:t>Envisioning the Connected Future: 5G Engineering Services PEAK Matrix</a:t>
                      </a:r>
                      <a:r>
                        <a:rPr lang="en-IN" sz="1100" u="none" baseline="30000" dirty="0">
                          <a:solidFill>
                            <a:schemeClr val="accent2"/>
                          </a:solidFill>
                          <a:uFill>
                            <a:solidFill>
                              <a:schemeClr val="bg1"/>
                            </a:solidFill>
                          </a:uFill>
                          <a:latin typeface="+mn-lt"/>
                        </a:rPr>
                        <a:t>®</a:t>
                      </a:r>
                      <a:r>
                        <a:rPr lang="en-IN" sz="1100" u="none" dirty="0">
                          <a:solidFill>
                            <a:schemeClr val="accent2"/>
                          </a:solidFill>
                          <a:uFill>
                            <a:solidFill>
                              <a:schemeClr val="bg1"/>
                            </a:solidFill>
                          </a:uFill>
                          <a:latin typeface="+mn-lt"/>
                        </a:rPr>
                        <a:t> Assessment 2021</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kumimoji="0" lang="en-IN" sz="1100" b="0" i="0" u="none" strike="noStrike" kern="1200" cap="none" spc="0" normalizeH="0" baseline="0" noProof="0" dirty="0">
                          <a:ln>
                            <a:noFill/>
                          </a:ln>
                          <a:solidFill>
                            <a:schemeClr val="accent2"/>
                          </a:solidFill>
                          <a:effectLst/>
                          <a:uLnTx/>
                          <a:uFillTx/>
                          <a:latin typeface="+mn-lt"/>
                          <a:ea typeface="+mn-ea"/>
                          <a:cs typeface="Arial" charset="0"/>
                        </a:rPr>
                        <a:t>September 2021</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4788234"/>
                  </a:ext>
                </a:extLst>
              </a:tr>
              <a:tr h="257821">
                <a:tc>
                  <a:txBody>
                    <a:bodyPr/>
                    <a:lstStyle/>
                    <a:p>
                      <a:pPr>
                        <a:lnSpc>
                          <a:spcPct val="100000"/>
                        </a:lnSpc>
                      </a:pPr>
                      <a:r>
                        <a:rPr lang="en-US" sz="1100" b="0" dirty="0">
                          <a:solidFill>
                            <a:schemeClr val="accent2"/>
                          </a:solidFill>
                          <a:latin typeface="+mn-lt"/>
                        </a:rPr>
                        <a:t>Driving Next-generation Mobility Experiences: ACES Mobility Automotive Engineering Services State of the Market Report 2022</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IN" sz="1100" b="0" dirty="0">
                          <a:solidFill>
                            <a:schemeClr val="accent2"/>
                          </a:solidFill>
                          <a:latin typeface="+mn-lt"/>
                        </a:rPr>
                        <a:t>December 2021</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4003660"/>
                  </a:ext>
                </a:extLst>
              </a:tr>
              <a:tr h="257821">
                <a:tc>
                  <a:txBody>
                    <a:bodyPr/>
                    <a:lstStyle/>
                    <a:p>
                      <a:pPr>
                        <a:lnSpc>
                          <a:spcPct val="100000"/>
                        </a:lnSpc>
                      </a:pPr>
                      <a:r>
                        <a:rPr lang="en-IN" sz="1100" b="0" kern="1200" dirty="0">
                          <a:solidFill>
                            <a:schemeClr val="accent2"/>
                          </a:solidFill>
                          <a:latin typeface="+mn-lt"/>
                          <a:ea typeface="+mn-ea"/>
                          <a:cs typeface="+mn-cs"/>
                        </a:rPr>
                        <a:t>Digital Product Engineering Services PEAK Matrix</a:t>
                      </a:r>
                      <a:r>
                        <a:rPr lang="en-IN" sz="1100" b="0" kern="1200" baseline="30000" dirty="0">
                          <a:solidFill>
                            <a:schemeClr val="accent2"/>
                          </a:solidFill>
                          <a:latin typeface="+mn-lt"/>
                          <a:ea typeface="+mn-ea"/>
                          <a:cs typeface="+mn-cs"/>
                        </a:rPr>
                        <a:t>®</a:t>
                      </a:r>
                      <a:r>
                        <a:rPr lang="en-IN" sz="1100" b="0" kern="1200" dirty="0">
                          <a:solidFill>
                            <a:schemeClr val="accent2"/>
                          </a:solidFill>
                          <a:latin typeface="+mn-lt"/>
                          <a:ea typeface="+mn-ea"/>
                          <a:cs typeface="+mn-cs"/>
                        </a:rPr>
                        <a:t> Assessment 2022</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100" b="0" kern="1200" noProof="0" dirty="0">
                          <a:solidFill>
                            <a:schemeClr val="accent2"/>
                          </a:solidFill>
                          <a:latin typeface="+mn-lt"/>
                          <a:ea typeface="+mn-ea"/>
                          <a:cs typeface="+mn-cs"/>
                        </a:rPr>
                        <a:t>March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2964171"/>
                  </a:ext>
                </a:extLst>
              </a:tr>
              <a:tr h="257821">
                <a:tc>
                  <a:txBody>
                    <a:bodyPr/>
                    <a:lstStyle/>
                    <a:p>
                      <a:pPr>
                        <a:lnSpc>
                          <a:spcPct val="100000"/>
                        </a:lnSpc>
                      </a:pPr>
                      <a:r>
                        <a:rPr lang="en-IN" sz="1100" b="0" kern="1200" dirty="0">
                          <a:solidFill>
                            <a:schemeClr val="accent2"/>
                          </a:solidFill>
                          <a:latin typeface="+mn-lt"/>
                          <a:ea typeface="+mn-ea"/>
                          <a:cs typeface="+mn-cs"/>
                        </a:rPr>
                        <a:t>Envisioning the Connected Future – 5G Engineering Services State of the Market Report 2022</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100" b="0" kern="1200" noProof="0" dirty="0">
                          <a:solidFill>
                            <a:schemeClr val="accent2"/>
                          </a:solidFill>
                          <a:latin typeface="+mn-lt"/>
                          <a:ea typeface="+mn-ea"/>
                          <a:cs typeface="+mn-cs"/>
                        </a:rPr>
                        <a:t>March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7107512"/>
                  </a:ext>
                </a:extLst>
              </a:tr>
              <a:tr h="257821">
                <a:tc>
                  <a:txBody>
                    <a:bodyPr/>
                    <a:lstStyle/>
                    <a:p>
                      <a:pPr>
                        <a:lnSpc>
                          <a:spcPct val="100000"/>
                        </a:lnSpc>
                      </a:pPr>
                      <a:r>
                        <a:rPr lang="en-IN" sz="1100" u="none" dirty="0">
                          <a:solidFill>
                            <a:schemeClr val="bg1">
                              <a:lumMod val="65000"/>
                            </a:schemeClr>
                          </a:solidFill>
                          <a:uFill>
                            <a:solidFill>
                              <a:schemeClr val="bg1"/>
                            </a:solidFill>
                          </a:uFill>
                          <a:latin typeface="+mn-lt"/>
                        </a:rPr>
                        <a:t>Industry 4.0 Services PEAK Matrix</a:t>
                      </a:r>
                      <a:r>
                        <a:rPr lang="en-IN" sz="1100" u="none" baseline="30000" dirty="0">
                          <a:solidFill>
                            <a:schemeClr val="bg1">
                              <a:lumMod val="65000"/>
                            </a:schemeClr>
                          </a:solidFill>
                          <a:uFill>
                            <a:solidFill>
                              <a:schemeClr val="bg1"/>
                            </a:solidFill>
                          </a:uFill>
                          <a:latin typeface="+mn-lt"/>
                        </a:rPr>
                        <a:t>®</a:t>
                      </a:r>
                      <a:r>
                        <a:rPr lang="en-IN" sz="1100" u="none" dirty="0">
                          <a:solidFill>
                            <a:schemeClr val="bg1">
                              <a:lumMod val="65000"/>
                            </a:schemeClr>
                          </a:solidFill>
                          <a:uFill>
                            <a:solidFill>
                              <a:schemeClr val="bg1"/>
                            </a:solidFill>
                          </a:uFill>
                          <a:latin typeface="+mn-lt"/>
                        </a:rPr>
                        <a:t> Assessment 2022</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bg1">
                              <a:lumMod val="65000"/>
                            </a:schemeClr>
                          </a:solidFill>
                          <a:effectLst/>
                          <a:uLnTx/>
                          <a:uFillTx/>
                          <a:latin typeface="Arial"/>
                          <a:ea typeface="+mn-ea"/>
                          <a:cs typeface="Arial" charset="0"/>
                        </a:rPr>
                        <a:t>Q2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7278150"/>
                  </a:ext>
                </a:extLst>
              </a:tr>
              <a:tr h="257821">
                <a:tc>
                  <a:txBody>
                    <a:bodyPr/>
                    <a:lstStyle/>
                    <a:p>
                      <a:pPr>
                        <a:lnSpc>
                          <a:spcPct val="100000"/>
                        </a:lnSpc>
                      </a:pPr>
                      <a:r>
                        <a:rPr lang="en-IN" sz="1100" dirty="0">
                          <a:solidFill>
                            <a:schemeClr val="bg1">
                              <a:lumMod val="65000"/>
                            </a:schemeClr>
                          </a:solidFill>
                          <a:latin typeface="+mn-lt"/>
                        </a:rPr>
                        <a:t>Software Product Engineering Services PEAK Matrix</a:t>
                      </a:r>
                      <a:r>
                        <a:rPr lang="en-IN" sz="1100" baseline="30000" dirty="0">
                          <a:solidFill>
                            <a:schemeClr val="bg1">
                              <a:lumMod val="65000"/>
                            </a:schemeClr>
                          </a:solidFill>
                          <a:latin typeface="+mn-lt"/>
                        </a:rPr>
                        <a:t>®</a:t>
                      </a:r>
                      <a:r>
                        <a:rPr lang="en-IN" sz="1100" dirty="0">
                          <a:solidFill>
                            <a:schemeClr val="bg1">
                              <a:lumMod val="65000"/>
                            </a:schemeClr>
                          </a:solidFill>
                          <a:latin typeface="+mn-lt"/>
                        </a:rPr>
                        <a:t> Assessment 2022</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IN" sz="1100" b="0" i="0" u="none" strike="noStrike" kern="1200" cap="none" spc="0" normalizeH="0" baseline="0" noProof="0" dirty="0">
                          <a:ln>
                            <a:noFill/>
                          </a:ln>
                          <a:solidFill>
                            <a:schemeClr val="bg1">
                              <a:lumMod val="65000"/>
                            </a:schemeClr>
                          </a:solidFill>
                          <a:effectLst/>
                          <a:uLnTx/>
                          <a:uFillTx/>
                          <a:latin typeface="Arial"/>
                          <a:ea typeface="+mn-ea"/>
                          <a:cs typeface="Arial" charset="0"/>
                        </a:rPr>
                        <a:t>Q2 2022</a:t>
                      </a:r>
                    </a:p>
                  </a:txBody>
                  <a:tcPr marR="288000"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95404043"/>
                  </a:ext>
                </a:extLst>
              </a:tr>
            </a:tbl>
          </a:graphicData>
        </a:graphic>
      </p:graphicFrame>
    </p:spTree>
    <p:extLst>
      <p:ext uri="{BB962C8B-B14F-4D97-AF65-F5344CB8AC3E}">
        <p14:creationId xmlns:p14="http://schemas.microsoft.com/office/powerpoint/2010/main" val="3086362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48026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3.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4.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5.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6.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7.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8.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9.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heme/theme1.xml><?xml version="1.0" encoding="utf-8"?>
<a:theme xmlns:a="http://schemas.openxmlformats.org/drawingml/2006/main" name="Master layout">
  <a:themeElements>
    <a:clrScheme name="Custom 4">
      <a:dk1>
        <a:srgbClr val="3F3F3F"/>
      </a:dk1>
      <a:lt1>
        <a:srgbClr val="FFFFFF"/>
      </a:lt1>
      <a:dk2>
        <a:srgbClr val="E5E534"/>
      </a:dk2>
      <a:lt2>
        <a:srgbClr val="4C7C8F"/>
      </a:lt2>
      <a:accent1>
        <a:srgbClr val="52B964"/>
      </a:accent1>
      <a:accent2>
        <a:srgbClr val="005A8C"/>
      </a:accent2>
      <a:accent3>
        <a:srgbClr val="BC202E"/>
      </a:accent3>
      <a:accent4>
        <a:srgbClr val="BFBFBF"/>
      </a:accent4>
      <a:accent5>
        <a:srgbClr val="27A7DF"/>
      </a:accent5>
      <a:accent6>
        <a:srgbClr val="F37534"/>
      </a:accent6>
      <a:hlink>
        <a:srgbClr val="005A8C"/>
      </a:hlink>
      <a:folHlink>
        <a:srgbClr val="005A8C"/>
      </a:folHlink>
    </a:clrScheme>
    <a:fontScheme name="blank">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defRPr kumimoji="0" lang="en-GB"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defRPr kumimoji="0" lang="en-GB" sz="16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gn="l">
          <a:defRPr dirty="0"/>
        </a:defPPr>
      </a:lstStyle>
    </a:txDef>
  </a:objectDefaults>
  <a:extraClrSchemeLst>
    <a:extraClrScheme>
      <a:clrScheme name="blank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ank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333399"/>
        </a:dk2>
        <a:lt2>
          <a:srgbClr val="1C1C1C"/>
        </a:lt2>
        <a:accent1>
          <a:srgbClr val="3333FF"/>
        </a:accent1>
        <a:accent2>
          <a:srgbClr val="33CC33"/>
        </a:accent2>
        <a:accent3>
          <a:srgbClr val="FFFFFF"/>
        </a:accent3>
        <a:accent4>
          <a:srgbClr val="000000"/>
        </a:accent4>
        <a:accent5>
          <a:srgbClr val="ADADFF"/>
        </a:accent5>
        <a:accent6>
          <a:srgbClr val="2DB92D"/>
        </a:accent6>
        <a:hlink>
          <a:srgbClr val="FF0000"/>
        </a:hlink>
        <a:folHlink>
          <a:srgbClr val="CC00CC"/>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33FF"/>
        </a:dk2>
        <a:lt2>
          <a:srgbClr val="1C1C1C"/>
        </a:lt2>
        <a:accent1>
          <a:srgbClr val="3333FF"/>
        </a:accent1>
        <a:accent2>
          <a:srgbClr val="FFCC00"/>
        </a:accent2>
        <a:accent3>
          <a:srgbClr val="FFFFFF"/>
        </a:accent3>
        <a:accent4>
          <a:srgbClr val="000000"/>
        </a:accent4>
        <a:accent5>
          <a:srgbClr val="ADADFF"/>
        </a:accent5>
        <a:accent6>
          <a:srgbClr val="E7B900"/>
        </a:accent6>
        <a:hlink>
          <a:srgbClr val="DDDDDD"/>
        </a:hlink>
        <a:folHlink>
          <a:srgbClr val="9696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mplimentary Abstract.pptx" id="{3A132994-27E8-4AD9-95C2-E405A3076A8A}" vid="{9D632861-715B-4889-ADF0-743FFBA3B5E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65643C09A75C4DAD5647B32C35D99E" ma:contentTypeVersion="16" ma:contentTypeDescription="Create a new document." ma:contentTypeScope="" ma:versionID="91e647895632210b886d55233d0e9851">
  <xsd:schema xmlns:xsd="http://www.w3.org/2001/XMLSchema" xmlns:xs="http://www.w3.org/2001/XMLSchema" xmlns:p="http://schemas.microsoft.com/office/2006/metadata/properties" xmlns:ns2="96bb5127-5553-4efa-8700-08eab9a2eae5" xmlns:ns3="a2a03c37-a52f-439a-9c68-c928e58a5b19" xmlns:ns4="5a16555b-8a8c-412b-a2b1-78d7430f4738" targetNamespace="http://schemas.microsoft.com/office/2006/metadata/properties" ma:root="true" ma:fieldsID="ae361a39acfe32c95adbc01206b7183b" ns2:_="" ns3:_="" ns4:_="">
    <xsd:import namespace="96bb5127-5553-4efa-8700-08eab9a2eae5"/>
    <xsd:import namespace="a2a03c37-a52f-439a-9c68-c928e58a5b19"/>
    <xsd:import namespace="5a16555b-8a8c-412b-a2b1-78d7430f47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b5127-5553-4efa-8700-08eab9a2ea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fcad401-cb1e-4c69-9290-4f630fede92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2a03c37-a52f-439a-9c68-c928e58a5b1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16555b-8a8c-412b-a2b1-78d7430f473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f72ee674-b6e9-4c8e-b04b-7a2f41312ef6}" ma:internalName="TaxCatchAll" ma:showField="CatchAllData" ma:web="5a16555b-8a8c-412b-a2b1-78d7430f47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6bb5127-5553-4efa-8700-08eab9a2eae5">
      <Terms xmlns="http://schemas.microsoft.com/office/infopath/2007/PartnerControls"/>
    </lcf76f155ced4ddcb4097134ff3c332f>
    <TaxCatchAll xmlns="5a16555b-8a8c-412b-a2b1-78d7430f473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4DB47A4-DDB7-4002-818B-C56C5AF494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bb5127-5553-4efa-8700-08eab9a2eae5"/>
    <ds:schemaRef ds:uri="a2a03c37-a52f-439a-9c68-c928e58a5b19"/>
    <ds:schemaRef ds:uri="5a16555b-8a8c-412b-a2b1-78d7430f47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73813B-A9C7-4927-8A79-478EAFAAC66B}">
  <ds:schemaRefs>
    <ds:schemaRef ds:uri="http://schemas.microsoft.com/office/2006/metadata/properties"/>
    <ds:schemaRef ds:uri="http://purl.org/dc/terms/"/>
    <ds:schemaRef ds:uri="http://www.w3.org/XML/1998/namespace"/>
    <ds:schemaRef ds:uri="http://purl.org/dc/dcmitype/"/>
    <ds:schemaRef ds:uri="http://schemas.microsoft.com/office/infopath/2007/PartnerControls"/>
    <ds:schemaRef ds:uri="http://schemas.microsoft.com/office/2006/documentManagement/types"/>
    <ds:schemaRef ds:uri="96bb5127-5553-4efa-8700-08eab9a2eae5"/>
    <ds:schemaRef ds:uri="http://purl.org/dc/elements/1.1/"/>
    <ds:schemaRef ds:uri="http://schemas.openxmlformats.org/package/2006/metadata/core-properties"/>
    <ds:schemaRef ds:uri="5a16555b-8a8c-412b-a2b1-78d7430f4738"/>
    <ds:schemaRef ds:uri="a2a03c37-a52f-439a-9c68-c928e58a5b19"/>
  </ds:schemaRefs>
</ds:datastoreItem>
</file>

<file path=customXml/itemProps3.xml><?xml version="1.0" encoding="utf-8"?>
<ds:datastoreItem xmlns:ds="http://schemas.openxmlformats.org/officeDocument/2006/customXml" ds:itemID="{0B17B2CA-5320-461C-A1FF-49841DDE53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mplimentary Abstract</Template>
  <TotalTime>2632</TotalTime>
  <Words>1788</Words>
  <Application>Microsoft Macintosh PowerPoint</Application>
  <PresentationFormat>Widescreen</PresentationFormat>
  <Paragraphs>290</Paragraphs>
  <Slides>8</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Arial Black</vt:lpstr>
      <vt:lpstr>Courier New</vt:lpstr>
      <vt:lpstr>Times New Roman</vt:lpstr>
      <vt:lpstr>Wingdings</vt:lpstr>
      <vt:lpstr>Master layout</vt:lpstr>
      <vt:lpstr>think-cell Slide</vt:lpstr>
      <vt:lpstr>PowerPoint Presentation</vt:lpstr>
      <vt:lpstr>Our research offerings</vt:lpstr>
      <vt:lpstr>PowerPoint Presentation</vt:lpstr>
      <vt:lpstr>Background and introduction</vt:lpstr>
      <vt:lpstr>Overview and abbreviated summary of key messages</vt:lpstr>
      <vt:lpstr>This study aims to serve as a yardstick for enterprise decision-makers as they review their own outsourcing portfolio and practices</vt:lpstr>
      <vt:lpstr>Research calendar Engineering services</vt:lpstr>
      <vt:lpstr>PowerPoint Presentation</vt:lpstr>
    </vt:vector>
  </TitlesOfParts>
  <Manager/>
  <Company>Everest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gineering Services Outsourcing Handbook - CA</dc:title>
  <dc:subject/>
  <dc:creator>Everest Group</dc:creator>
  <cp:keywords>Everest Group, Engineering R&amp;D, ER&amp;D, engineering service providers, engineering outsourcing, digital engineering, global sourcing, offshoring, location strategy, delivery model, engagement models, pricing model, global business services</cp:keywords>
  <dc:description/>
  <cp:lastModifiedBy>Arpit Sehgal</cp:lastModifiedBy>
  <cp:revision>40</cp:revision>
  <cp:lastPrinted>2001-01-17T18:19:10Z</cp:lastPrinted>
  <dcterms:created xsi:type="dcterms:W3CDTF">2020-08-18T12:59:00Z</dcterms:created>
  <dcterms:modified xsi:type="dcterms:W3CDTF">2022-03-30T13:49:04Z</dcterms:modified>
  <cp:category>Complimentary Abstrac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65643C09A75C4DAD5647B32C35D99E</vt:lpwstr>
  </property>
  <property fmtid="{D5CDD505-2E9C-101B-9397-08002B2CF9AE}" pid="3" name="MediaServiceImageTags">
    <vt:lpwstr/>
  </property>
</Properties>
</file>